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68" r:id="rId5"/>
  </p:sldMasterIdLst>
  <p:notesMasterIdLst>
    <p:notesMasterId r:id="rId25"/>
  </p:notesMasterIdLst>
  <p:sldIdLst>
    <p:sldId id="2147375380" r:id="rId6"/>
    <p:sldId id="2147375405" r:id="rId7"/>
    <p:sldId id="2147375395" r:id="rId8"/>
    <p:sldId id="2147375394" r:id="rId9"/>
    <p:sldId id="2147375391" r:id="rId10"/>
    <p:sldId id="1243" r:id="rId11"/>
    <p:sldId id="2141412467" r:id="rId12"/>
    <p:sldId id="2141412468" r:id="rId13"/>
    <p:sldId id="2141412469" r:id="rId14"/>
    <p:sldId id="2141412470" r:id="rId15"/>
    <p:sldId id="2141412471" r:id="rId16"/>
    <p:sldId id="2141412472" r:id="rId17"/>
    <p:sldId id="2147375392" r:id="rId18"/>
    <p:sldId id="10538" r:id="rId19"/>
    <p:sldId id="2147375406" r:id="rId20"/>
    <p:sldId id="382" r:id="rId21"/>
    <p:sldId id="2147375407" r:id="rId22"/>
    <p:sldId id="2147375403" r:id="rId23"/>
    <p:sldId id="214737537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2147375380"/>
            <p14:sldId id="2147375405"/>
            <p14:sldId id="2147375395"/>
            <p14:sldId id="2147375394"/>
            <p14:sldId id="2147375391"/>
            <p14:sldId id="1243"/>
            <p14:sldId id="2141412467"/>
            <p14:sldId id="2141412468"/>
            <p14:sldId id="2141412469"/>
            <p14:sldId id="2141412470"/>
            <p14:sldId id="2141412471"/>
            <p14:sldId id="2141412472"/>
            <p14:sldId id="2147375392"/>
            <p14:sldId id="10538"/>
            <p14:sldId id="2147375406"/>
            <p14:sldId id="382"/>
            <p14:sldId id="2147375407"/>
            <p14:sldId id="2147375403"/>
            <p14:sldId id="214737537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E8BE01-674C-41E8-985F-CE7C05155AA3}" v="14" dt="2023-07-06T05:31:48.3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62"/>
    <p:restoredTop sz="96344" autoAdjust="0"/>
  </p:normalViewPr>
  <p:slideViewPr>
    <p:cSldViewPr snapToGrid="0">
      <p:cViewPr varScale="1">
        <p:scale>
          <a:sx n="64" d="100"/>
          <a:sy n="64" d="100"/>
        </p:scale>
        <p:origin x="90" y="10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fort, Eloise (Contractor)" userId="26bbe66d-679e-4f77-b853-2552684426a6" providerId="ADAL" clId="{DBE8BE01-674C-41E8-985F-CE7C05155AA3}"/>
    <pc:docChg chg="undo redo custSel addSld delSld modSld modSection">
      <pc:chgData name="Lefort, Eloise (Contractor)" userId="26bbe66d-679e-4f77-b853-2552684426a6" providerId="ADAL" clId="{DBE8BE01-674C-41E8-985F-CE7C05155AA3}" dt="2023-07-06T05:49:56.796" v="634"/>
      <pc:docMkLst>
        <pc:docMk/>
      </pc:docMkLst>
      <pc:sldChg chg="addSp modSp add mod">
        <pc:chgData name="Lefort, Eloise (Contractor)" userId="26bbe66d-679e-4f77-b853-2552684426a6" providerId="ADAL" clId="{DBE8BE01-674C-41E8-985F-CE7C05155AA3}" dt="2023-07-06T05:32:27.802" v="224" actId="1076"/>
        <pc:sldMkLst>
          <pc:docMk/>
          <pc:sldMk cId="3687174455" sldId="382"/>
        </pc:sldMkLst>
        <pc:spChg chg="mod">
          <ac:chgData name="Lefort, Eloise (Contractor)" userId="26bbe66d-679e-4f77-b853-2552684426a6" providerId="ADAL" clId="{DBE8BE01-674C-41E8-985F-CE7C05155AA3}" dt="2023-07-06T05:28:42.347" v="145" actId="948"/>
          <ac:spMkLst>
            <pc:docMk/>
            <pc:sldMk cId="3687174455" sldId="382"/>
            <ac:spMk id="4369" creationId="{F61A8A55-CB76-4AB3-AB77-8D5A26D5ED84}"/>
          </ac:spMkLst>
        </pc:spChg>
        <pc:spChg chg="mod">
          <ac:chgData name="Lefort, Eloise (Contractor)" userId="26bbe66d-679e-4f77-b853-2552684426a6" providerId="ADAL" clId="{DBE8BE01-674C-41E8-985F-CE7C05155AA3}" dt="2023-07-06T05:29:25.634" v="159" actId="14100"/>
          <ac:spMkLst>
            <pc:docMk/>
            <pc:sldMk cId="3687174455" sldId="382"/>
            <ac:spMk id="4375" creationId="{27B8E7FA-E40F-4633-9C8B-6B84928CF65F}"/>
          </ac:spMkLst>
        </pc:spChg>
        <pc:spChg chg="mod">
          <ac:chgData name="Lefort, Eloise (Contractor)" userId="26bbe66d-679e-4f77-b853-2552684426a6" providerId="ADAL" clId="{DBE8BE01-674C-41E8-985F-CE7C05155AA3}" dt="2023-07-06T05:30:52.883" v="196" actId="3064"/>
          <ac:spMkLst>
            <pc:docMk/>
            <pc:sldMk cId="3687174455" sldId="382"/>
            <ac:spMk id="4381" creationId="{8A5A893D-DA33-4FC7-82BB-E344801315C8}"/>
          </ac:spMkLst>
        </pc:spChg>
        <pc:spChg chg="mod">
          <ac:chgData name="Lefort, Eloise (Contractor)" userId="26bbe66d-679e-4f77-b853-2552684426a6" providerId="ADAL" clId="{DBE8BE01-674C-41E8-985F-CE7C05155AA3}" dt="2023-07-06T05:32:23.761" v="223" actId="14100"/>
          <ac:spMkLst>
            <pc:docMk/>
            <pc:sldMk cId="3687174455" sldId="382"/>
            <ac:spMk id="4393" creationId="{C5412C79-0872-44CD-8FEC-C71A1B16F95F}"/>
          </ac:spMkLst>
        </pc:spChg>
        <pc:grpChg chg="mod">
          <ac:chgData name="Lefort, Eloise (Contractor)" userId="26bbe66d-679e-4f77-b853-2552684426a6" providerId="ADAL" clId="{DBE8BE01-674C-41E8-985F-CE7C05155AA3}" dt="2023-07-06T05:29:29.445" v="160" actId="1076"/>
          <ac:grpSpMkLst>
            <pc:docMk/>
            <pc:sldMk cId="3687174455" sldId="382"/>
            <ac:grpSpMk id="4377" creationId="{FC4611D5-3B8A-43C7-9857-C2811EF6865A}"/>
          </ac:grpSpMkLst>
        </pc:grpChg>
        <pc:picChg chg="add mod">
          <ac:chgData name="Lefort, Eloise (Contractor)" userId="26bbe66d-679e-4f77-b853-2552684426a6" providerId="ADAL" clId="{DBE8BE01-674C-41E8-985F-CE7C05155AA3}" dt="2023-07-06T05:27:40.410" v="135" actId="1076"/>
          <ac:picMkLst>
            <pc:docMk/>
            <pc:sldMk cId="3687174455" sldId="382"/>
            <ac:picMk id="2" creationId="{5B2093FD-0B9D-98A9-EB4F-F5ADB877A107}"/>
          </ac:picMkLst>
        </pc:picChg>
        <pc:picChg chg="mod">
          <ac:chgData name="Lefort, Eloise (Contractor)" userId="26bbe66d-679e-4f77-b853-2552684426a6" providerId="ADAL" clId="{DBE8BE01-674C-41E8-985F-CE7C05155AA3}" dt="2023-07-06T05:32:00.322" v="215" actId="1076"/>
          <ac:picMkLst>
            <pc:docMk/>
            <pc:sldMk cId="3687174455" sldId="382"/>
            <ac:picMk id="4" creationId="{57B11124-82BA-4C03-B566-88E342B79A4E}"/>
          </ac:picMkLst>
        </pc:picChg>
        <pc:picChg chg="mod">
          <ac:chgData name="Lefort, Eloise (Contractor)" userId="26bbe66d-679e-4f77-b853-2552684426a6" providerId="ADAL" clId="{DBE8BE01-674C-41E8-985F-CE7C05155AA3}" dt="2023-07-06T05:28:46.058" v="146" actId="1076"/>
          <ac:picMkLst>
            <pc:docMk/>
            <pc:sldMk cId="3687174455" sldId="382"/>
            <ac:picMk id="7" creationId="{F1378BF5-135B-6040-932D-050A416B24A8}"/>
          </ac:picMkLst>
        </pc:picChg>
        <pc:picChg chg="add mod">
          <ac:chgData name="Lefort, Eloise (Contractor)" userId="26bbe66d-679e-4f77-b853-2552684426a6" providerId="ADAL" clId="{DBE8BE01-674C-41E8-985F-CE7C05155AA3}" dt="2023-07-06T05:31:25.587" v="204" actId="1076"/>
          <ac:picMkLst>
            <pc:docMk/>
            <pc:sldMk cId="3687174455" sldId="382"/>
            <ac:picMk id="16" creationId="{444730B3-1C90-3799-DD21-0C288C85BD87}"/>
          </ac:picMkLst>
        </pc:picChg>
        <pc:picChg chg="mod">
          <ac:chgData name="Lefort, Eloise (Contractor)" userId="26bbe66d-679e-4f77-b853-2552684426a6" providerId="ADAL" clId="{DBE8BE01-674C-41E8-985F-CE7C05155AA3}" dt="2023-07-06T05:31:03.754" v="200" actId="1076"/>
          <ac:picMkLst>
            <pc:docMk/>
            <pc:sldMk cId="3687174455" sldId="382"/>
            <ac:picMk id="17" creationId="{33BECF0D-B59D-5048-9633-C19588DF90C0}"/>
          </ac:picMkLst>
        </pc:picChg>
        <pc:picChg chg="add mod">
          <ac:chgData name="Lefort, Eloise (Contractor)" userId="26bbe66d-679e-4f77-b853-2552684426a6" providerId="ADAL" clId="{DBE8BE01-674C-41E8-985F-CE7C05155AA3}" dt="2023-07-06T05:31:25.587" v="204" actId="1076"/>
          <ac:picMkLst>
            <pc:docMk/>
            <pc:sldMk cId="3687174455" sldId="382"/>
            <ac:picMk id="18" creationId="{26A333E1-7DC9-E328-AEB1-9AD2DA6D32D7}"/>
          </ac:picMkLst>
        </pc:picChg>
        <pc:picChg chg="add mod">
          <ac:chgData name="Lefort, Eloise (Contractor)" userId="26bbe66d-679e-4f77-b853-2552684426a6" providerId="ADAL" clId="{DBE8BE01-674C-41E8-985F-CE7C05155AA3}" dt="2023-07-06T05:32:04.585" v="216" actId="1076"/>
          <ac:picMkLst>
            <pc:docMk/>
            <pc:sldMk cId="3687174455" sldId="382"/>
            <ac:picMk id="19" creationId="{80F35116-F2F9-84BB-0D8C-647A7D2C1693}"/>
          </ac:picMkLst>
        </pc:picChg>
        <pc:picChg chg="mod">
          <ac:chgData name="Lefort, Eloise (Contractor)" userId="26bbe66d-679e-4f77-b853-2552684426a6" providerId="ADAL" clId="{DBE8BE01-674C-41E8-985F-CE7C05155AA3}" dt="2023-07-06T05:32:27.802" v="224" actId="1076"/>
          <ac:picMkLst>
            <pc:docMk/>
            <pc:sldMk cId="3687174455" sldId="382"/>
            <ac:picMk id="26" creationId="{191A8417-77EE-964B-BEDC-FFC2D83E13AB}"/>
          </ac:picMkLst>
        </pc:picChg>
        <pc:picChg chg="mod">
          <ac:chgData name="Lefort, Eloise (Contractor)" userId="26bbe66d-679e-4f77-b853-2552684426a6" providerId="ADAL" clId="{DBE8BE01-674C-41E8-985F-CE7C05155AA3}" dt="2023-07-06T05:27:36.267" v="134" actId="1076"/>
          <ac:picMkLst>
            <pc:docMk/>
            <pc:sldMk cId="3687174455" sldId="382"/>
            <ac:picMk id="4371" creationId="{07FC021C-E3AC-460F-B910-418F0412380A}"/>
          </ac:picMkLst>
        </pc:picChg>
        <pc:picChg chg="mod">
          <ac:chgData name="Lefort, Eloise (Contractor)" userId="26bbe66d-679e-4f77-b853-2552684426a6" providerId="ADAL" clId="{DBE8BE01-674C-41E8-985F-CE7C05155AA3}" dt="2023-07-06T05:27:36.267" v="134" actId="1076"/>
          <ac:picMkLst>
            <pc:docMk/>
            <pc:sldMk cId="3687174455" sldId="382"/>
            <ac:picMk id="4372" creationId="{745B679D-D717-4AEB-B402-13D98C748E1C}"/>
          </ac:picMkLst>
        </pc:picChg>
        <pc:picChg chg="mod">
          <ac:chgData name="Lefort, Eloise (Contractor)" userId="26bbe66d-679e-4f77-b853-2552684426a6" providerId="ADAL" clId="{DBE8BE01-674C-41E8-985F-CE7C05155AA3}" dt="2023-07-06T05:27:36.267" v="134" actId="1076"/>
          <ac:picMkLst>
            <pc:docMk/>
            <pc:sldMk cId="3687174455" sldId="382"/>
            <ac:picMk id="4373" creationId="{84545E6D-27E2-4212-803C-A68DFB8B3B15}"/>
          </ac:picMkLst>
        </pc:picChg>
        <pc:picChg chg="mod">
          <ac:chgData name="Lefort, Eloise (Contractor)" userId="26bbe66d-679e-4f77-b853-2552684426a6" providerId="ADAL" clId="{DBE8BE01-674C-41E8-985F-CE7C05155AA3}" dt="2023-07-06T05:31:18.363" v="203" actId="1076"/>
          <ac:picMkLst>
            <pc:docMk/>
            <pc:sldMk cId="3687174455" sldId="382"/>
            <ac:picMk id="4383" creationId="{489D0F8E-19FB-4031-AB18-9F9E6F7F58BF}"/>
          </ac:picMkLst>
        </pc:picChg>
        <pc:picChg chg="mod">
          <ac:chgData name="Lefort, Eloise (Contractor)" userId="26bbe66d-679e-4f77-b853-2552684426a6" providerId="ADAL" clId="{DBE8BE01-674C-41E8-985F-CE7C05155AA3}" dt="2023-07-06T05:31:57.721" v="214" actId="1076"/>
          <ac:picMkLst>
            <pc:docMk/>
            <pc:sldMk cId="3687174455" sldId="382"/>
            <ac:picMk id="4395" creationId="{B5BA19C9-46B6-4BDB-9FB7-17CDDAE0D024}"/>
          </ac:picMkLst>
        </pc:picChg>
        <pc:picChg chg="mod">
          <ac:chgData name="Lefort, Eloise (Contractor)" userId="26bbe66d-679e-4f77-b853-2552684426a6" providerId="ADAL" clId="{DBE8BE01-674C-41E8-985F-CE7C05155AA3}" dt="2023-07-06T05:31:57.721" v="214" actId="1076"/>
          <ac:picMkLst>
            <pc:docMk/>
            <pc:sldMk cId="3687174455" sldId="382"/>
            <ac:picMk id="4396" creationId="{B05E920E-1AB9-4943-AA40-27130697B8D6}"/>
          </ac:picMkLst>
        </pc:picChg>
        <pc:cxnChg chg="mod">
          <ac:chgData name="Lefort, Eloise (Contractor)" userId="26bbe66d-679e-4f77-b853-2552684426a6" providerId="ADAL" clId="{DBE8BE01-674C-41E8-985F-CE7C05155AA3}" dt="2023-07-06T05:28:34.508" v="143" actId="14100"/>
          <ac:cxnSpMkLst>
            <pc:docMk/>
            <pc:sldMk cId="3687174455" sldId="382"/>
            <ac:cxnSpMk id="4368" creationId="{DC6B0E2E-5C87-4C71-BF6B-714B7C59764D}"/>
          </ac:cxnSpMkLst>
        </pc:cxnChg>
        <pc:cxnChg chg="mod">
          <ac:chgData name="Lefort, Eloise (Contractor)" userId="26bbe66d-679e-4f77-b853-2552684426a6" providerId="ADAL" clId="{DBE8BE01-674C-41E8-985F-CE7C05155AA3}" dt="2023-07-06T05:29:25.634" v="159" actId="14100"/>
          <ac:cxnSpMkLst>
            <pc:docMk/>
            <pc:sldMk cId="3687174455" sldId="382"/>
            <ac:cxnSpMk id="4376" creationId="{F29AA758-3468-4513-9447-08495347DAAF}"/>
          </ac:cxnSpMkLst>
        </pc:cxnChg>
        <pc:cxnChg chg="mod">
          <ac:chgData name="Lefort, Eloise (Contractor)" userId="26bbe66d-679e-4f77-b853-2552684426a6" providerId="ADAL" clId="{DBE8BE01-674C-41E8-985F-CE7C05155AA3}" dt="2023-07-06T05:30:43.831" v="187" actId="14100"/>
          <ac:cxnSpMkLst>
            <pc:docMk/>
            <pc:sldMk cId="3687174455" sldId="382"/>
            <ac:cxnSpMk id="4382" creationId="{D032B0E4-54E5-4560-8A94-C5034E95F96D}"/>
          </ac:cxnSpMkLst>
        </pc:cxnChg>
        <pc:cxnChg chg="mod">
          <ac:chgData name="Lefort, Eloise (Contractor)" userId="26bbe66d-679e-4f77-b853-2552684426a6" providerId="ADAL" clId="{DBE8BE01-674C-41E8-985F-CE7C05155AA3}" dt="2023-07-06T05:32:23.761" v="223" actId="14100"/>
          <ac:cxnSpMkLst>
            <pc:docMk/>
            <pc:sldMk cId="3687174455" sldId="382"/>
            <ac:cxnSpMk id="4392" creationId="{DF8C0D49-140B-4214-8987-9B450805C4CE}"/>
          </ac:cxnSpMkLst>
        </pc:cxnChg>
      </pc:sldChg>
      <pc:sldChg chg="modSp add mod">
        <pc:chgData name="Lefort, Eloise (Contractor)" userId="26bbe66d-679e-4f77-b853-2552684426a6" providerId="ADAL" clId="{DBE8BE01-674C-41E8-985F-CE7C05155AA3}" dt="2023-07-06T05:22:43.671" v="92" actId="207"/>
        <pc:sldMkLst>
          <pc:docMk/>
          <pc:sldMk cId="3111387043" sldId="1243"/>
        </pc:sldMkLst>
        <pc:spChg chg="mod">
          <ac:chgData name="Lefort, Eloise (Contractor)" userId="26bbe66d-679e-4f77-b853-2552684426a6" providerId="ADAL" clId="{DBE8BE01-674C-41E8-985F-CE7C05155AA3}" dt="2023-07-06T05:22:38.385" v="90" actId="207"/>
          <ac:spMkLst>
            <pc:docMk/>
            <pc:sldMk cId="3111387043" sldId="1243"/>
            <ac:spMk id="87" creationId="{9A294975-CBEC-604B-B2CC-CE6F8E4EDB27}"/>
          </ac:spMkLst>
        </pc:spChg>
        <pc:spChg chg="mod">
          <ac:chgData name="Lefort, Eloise (Contractor)" userId="26bbe66d-679e-4f77-b853-2552684426a6" providerId="ADAL" clId="{DBE8BE01-674C-41E8-985F-CE7C05155AA3}" dt="2023-07-06T05:22:40.917" v="91" actId="207"/>
          <ac:spMkLst>
            <pc:docMk/>
            <pc:sldMk cId="3111387043" sldId="1243"/>
            <ac:spMk id="89" creationId="{DC70DABE-EED4-944E-AE03-A1E40DFCA84D}"/>
          </ac:spMkLst>
        </pc:spChg>
        <pc:spChg chg="mod">
          <ac:chgData name="Lefort, Eloise (Contractor)" userId="26bbe66d-679e-4f77-b853-2552684426a6" providerId="ADAL" clId="{DBE8BE01-674C-41E8-985F-CE7C05155AA3}" dt="2023-07-06T05:22:43.671" v="92" actId="207"/>
          <ac:spMkLst>
            <pc:docMk/>
            <pc:sldMk cId="3111387043" sldId="1243"/>
            <ac:spMk id="101" creationId="{F468F0DB-568A-0643-9698-A9F37ED85456}"/>
          </ac:spMkLst>
        </pc:spChg>
      </pc:sldChg>
      <pc:sldChg chg="modSp mod">
        <pc:chgData name="Lefort, Eloise (Contractor)" userId="26bbe66d-679e-4f77-b853-2552684426a6" providerId="ADAL" clId="{DBE8BE01-674C-41E8-985F-CE7C05155AA3}" dt="2023-07-06T05:23:00.369" v="94"/>
        <pc:sldMkLst>
          <pc:docMk/>
          <pc:sldMk cId="411366147" sldId="10538"/>
        </pc:sldMkLst>
        <pc:spChg chg="mod">
          <ac:chgData name="Lefort, Eloise (Contractor)" userId="26bbe66d-679e-4f77-b853-2552684426a6" providerId="ADAL" clId="{DBE8BE01-674C-41E8-985F-CE7C05155AA3}" dt="2023-07-06T05:23:00.369" v="94"/>
          <ac:spMkLst>
            <pc:docMk/>
            <pc:sldMk cId="411366147" sldId="10538"/>
            <ac:spMk id="8" creationId="{98DC1717-FBE8-480F-9277-55A3BD9C1964}"/>
          </ac:spMkLst>
        </pc:spChg>
      </pc:sldChg>
      <pc:sldChg chg="modSp del mod">
        <pc:chgData name="Lefort, Eloise (Contractor)" userId="26bbe66d-679e-4f77-b853-2552684426a6" providerId="ADAL" clId="{DBE8BE01-674C-41E8-985F-CE7C05155AA3}" dt="2023-07-06T05:25:49.547" v="119" actId="47"/>
        <pc:sldMkLst>
          <pc:docMk/>
          <pc:sldMk cId="830109402" sldId="2141412363"/>
        </pc:sldMkLst>
        <pc:spChg chg="mod">
          <ac:chgData name="Lefort, Eloise (Contractor)" userId="26bbe66d-679e-4f77-b853-2552684426a6" providerId="ADAL" clId="{DBE8BE01-674C-41E8-985F-CE7C05155AA3}" dt="2023-07-06T05:23:52.809" v="101"/>
          <ac:spMkLst>
            <pc:docMk/>
            <pc:sldMk cId="830109402" sldId="2141412363"/>
            <ac:spMk id="4" creationId="{44AD1D2F-3719-4B1B-B819-9B24C12F8270}"/>
          </ac:spMkLst>
        </pc:spChg>
      </pc:sldChg>
      <pc:sldChg chg="del">
        <pc:chgData name="Lefort, Eloise (Contractor)" userId="26bbe66d-679e-4f77-b853-2552684426a6" providerId="ADAL" clId="{DBE8BE01-674C-41E8-985F-CE7C05155AA3}" dt="2023-07-06T05:22:49.394" v="93" actId="47"/>
        <pc:sldMkLst>
          <pc:docMk/>
          <pc:sldMk cId="393565893" sldId="2141412451"/>
        </pc:sldMkLst>
      </pc:sldChg>
      <pc:sldChg chg="del">
        <pc:chgData name="Lefort, Eloise (Contractor)" userId="26bbe66d-679e-4f77-b853-2552684426a6" providerId="ADAL" clId="{DBE8BE01-674C-41E8-985F-CE7C05155AA3}" dt="2023-07-06T05:13:35.007" v="3" actId="47"/>
        <pc:sldMkLst>
          <pc:docMk/>
          <pc:sldMk cId="1503910250" sldId="2141412452"/>
        </pc:sldMkLst>
      </pc:sldChg>
      <pc:sldChg chg="modSp mod">
        <pc:chgData name="Lefort, Eloise (Contractor)" userId="26bbe66d-679e-4f77-b853-2552684426a6" providerId="ADAL" clId="{DBE8BE01-674C-41E8-985F-CE7C05155AA3}" dt="2023-07-06T05:36:52.039" v="329" actId="20577"/>
        <pc:sldMkLst>
          <pc:docMk/>
          <pc:sldMk cId="3935392718" sldId="2141412467"/>
        </pc:sldMkLst>
        <pc:spChg chg="mod">
          <ac:chgData name="Lefort, Eloise (Contractor)" userId="26bbe66d-679e-4f77-b853-2552684426a6" providerId="ADAL" clId="{DBE8BE01-674C-41E8-985F-CE7C05155AA3}" dt="2023-07-06T05:33:31.446" v="236" actId="20577"/>
          <ac:spMkLst>
            <pc:docMk/>
            <pc:sldMk cId="3935392718" sldId="2141412467"/>
            <ac:spMk id="3" creationId="{1C8204D5-27AE-40B4-83A3-D6BB1D18F5CD}"/>
          </ac:spMkLst>
        </pc:spChg>
        <pc:spChg chg="mod">
          <ac:chgData name="Lefort, Eloise (Contractor)" userId="26bbe66d-679e-4f77-b853-2552684426a6" providerId="ADAL" clId="{DBE8BE01-674C-41E8-985F-CE7C05155AA3}" dt="2023-07-06T05:33:02.961" v="227"/>
          <ac:spMkLst>
            <pc:docMk/>
            <pc:sldMk cId="3935392718" sldId="2141412467"/>
            <ac:spMk id="4" creationId="{88AB849E-C8EA-4BFB-8B34-FE760FB08684}"/>
          </ac:spMkLst>
        </pc:spChg>
        <pc:spChg chg="mod">
          <ac:chgData name="Lefort, Eloise (Contractor)" userId="26bbe66d-679e-4f77-b853-2552684426a6" providerId="ADAL" clId="{DBE8BE01-674C-41E8-985F-CE7C05155AA3}" dt="2023-07-06T05:35:08.650" v="287" actId="1038"/>
          <ac:spMkLst>
            <pc:docMk/>
            <pc:sldMk cId="3935392718" sldId="2141412467"/>
            <ac:spMk id="8" creationId="{000EA9D6-C34C-132A-4E06-27C2DEE01C3A}"/>
          </ac:spMkLst>
        </pc:spChg>
        <pc:spChg chg="mod">
          <ac:chgData name="Lefort, Eloise (Contractor)" userId="26bbe66d-679e-4f77-b853-2552684426a6" providerId="ADAL" clId="{DBE8BE01-674C-41E8-985F-CE7C05155AA3}" dt="2023-07-06T05:34:50.372" v="267" actId="20577"/>
          <ac:spMkLst>
            <pc:docMk/>
            <pc:sldMk cId="3935392718" sldId="2141412467"/>
            <ac:spMk id="10" creationId="{85AFD9CF-9786-F847-9AA2-8E0938EFC7D8}"/>
          </ac:spMkLst>
        </pc:spChg>
        <pc:spChg chg="mod">
          <ac:chgData name="Lefort, Eloise (Contractor)" userId="26bbe66d-679e-4f77-b853-2552684426a6" providerId="ADAL" clId="{DBE8BE01-674C-41E8-985F-CE7C05155AA3}" dt="2023-07-06T05:32:59.707" v="226"/>
          <ac:spMkLst>
            <pc:docMk/>
            <pc:sldMk cId="3935392718" sldId="2141412467"/>
            <ac:spMk id="11" creationId="{E4BECCCD-E0FE-411A-B147-080B52B6A7B1}"/>
          </ac:spMkLst>
        </pc:spChg>
        <pc:spChg chg="mod">
          <ac:chgData name="Lefort, Eloise (Contractor)" userId="26bbe66d-679e-4f77-b853-2552684426a6" providerId="ADAL" clId="{DBE8BE01-674C-41E8-985F-CE7C05155AA3}" dt="2023-07-06T05:36:52.039" v="329" actId="20577"/>
          <ac:spMkLst>
            <pc:docMk/>
            <pc:sldMk cId="3935392718" sldId="2141412467"/>
            <ac:spMk id="14" creationId="{5BA46E42-BDDA-4E93-9DE6-5982F3A3BEBC}"/>
          </ac:spMkLst>
        </pc:spChg>
        <pc:spChg chg="mod">
          <ac:chgData name="Lefort, Eloise (Contractor)" userId="26bbe66d-679e-4f77-b853-2552684426a6" providerId="ADAL" clId="{DBE8BE01-674C-41E8-985F-CE7C05155AA3}" dt="2023-07-06T05:34:46.873" v="265" actId="14100"/>
          <ac:spMkLst>
            <pc:docMk/>
            <pc:sldMk cId="3935392718" sldId="2141412467"/>
            <ac:spMk id="35" creationId="{934F0C5C-9D71-B9D4-71CF-B77BF446BD1D}"/>
          </ac:spMkLst>
        </pc:spChg>
        <pc:spChg chg="mod">
          <ac:chgData name="Lefort, Eloise (Contractor)" userId="26bbe66d-679e-4f77-b853-2552684426a6" providerId="ADAL" clId="{DBE8BE01-674C-41E8-985F-CE7C05155AA3}" dt="2023-07-06T05:36:39.638" v="325" actId="1038"/>
          <ac:spMkLst>
            <pc:docMk/>
            <pc:sldMk cId="3935392718" sldId="2141412467"/>
            <ac:spMk id="44" creationId="{A559F5F9-0D55-5844-4AF6-EA2D3B8F9C20}"/>
          </ac:spMkLst>
        </pc:spChg>
        <pc:spChg chg="mod">
          <ac:chgData name="Lefort, Eloise (Contractor)" userId="26bbe66d-679e-4f77-b853-2552684426a6" providerId="ADAL" clId="{DBE8BE01-674C-41E8-985F-CE7C05155AA3}" dt="2023-07-06T05:36:01.057" v="299" actId="14100"/>
          <ac:spMkLst>
            <pc:docMk/>
            <pc:sldMk cId="3935392718" sldId="2141412467"/>
            <ac:spMk id="45" creationId="{537A78AF-4523-1AB4-1B47-53FC8A619CBE}"/>
          </ac:spMkLst>
        </pc:spChg>
        <pc:spChg chg="mod">
          <ac:chgData name="Lefort, Eloise (Contractor)" userId="26bbe66d-679e-4f77-b853-2552684426a6" providerId="ADAL" clId="{DBE8BE01-674C-41E8-985F-CE7C05155AA3}" dt="2023-07-06T05:36:20.848" v="305" actId="14100"/>
          <ac:spMkLst>
            <pc:docMk/>
            <pc:sldMk cId="3935392718" sldId="2141412467"/>
            <ac:spMk id="57" creationId="{27493AD1-113C-5376-3664-2BB236D2A811}"/>
          </ac:spMkLst>
        </pc:spChg>
        <pc:spChg chg="mod">
          <ac:chgData name="Lefort, Eloise (Contractor)" userId="26bbe66d-679e-4f77-b853-2552684426a6" providerId="ADAL" clId="{DBE8BE01-674C-41E8-985F-CE7C05155AA3}" dt="2023-07-06T05:35:41.554" v="293" actId="20577"/>
          <ac:spMkLst>
            <pc:docMk/>
            <pc:sldMk cId="3935392718" sldId="2141412467"/>
            <ac:spMk id="86" creationId="{3CC614BF-157A-72E8-84AC-223BA62C7E00}"/>
          </ac:spMkLst>
        </pc:spChg>
        <pc:grpChg chg="mod">
          <ac:chgData name="Lefort, Eloise (Contractor)" userId="26bbe66d-679e-4f77-b853-2552684426a6" providerId="ADAL" clId="{DBE8BE01-674C-41E8-985F-CE7C05155AA3}" dt="2023-07-06T05:35:08.650" v="287" actId="1038"/>
          <ac:grpSpMkLst>
            <pc:docMk/>
            <pc:sldMk cId="3935392718" sldId="2141412467"/>
            <ac:grpSpMk id="36" creationId="{442AD38F-5EA5-5108-530C-8F559020C563}"/>
          </ac:grpSpMkLst>
        </pc:grpChg>
        <pc:grpChg chg="mod">
          <ac:chgData name="Lefort, Eloise (Contractor)" userId="26bbe66d-679e-4f77-b853-2552684426a6" providerId="ADAL" clId="{DBE8BE01-674C-41E8-985F-CE7C05155AA3}" dt="2023-07-06T05:36:39.638" v="325" actId="1038"/>
          <ac:grpSpMkLst>
            <pc:docMk/>
            <pc:sldMk cId="3935392718" sldId="2141412467"/>
            <ac:grpSpMk id="46" creationId="{731006AF-715C-5D8C-F5FD-D032CC783F08}"/>
          </ac:grpSpMkLst>
        </pc:grpChg>
        <pc:grpChg chg="mod">
          <ac:chgData name="Lefort, Eloise (Contractor)" userId="26bbe66d-679e-4f77-b853-2552684426a6" providerId="ADAL" clId="{DBE8BE01-674C-41E8-985F-CE7C05155AA3}" dt="2023-07-06T05:36:39.638" v="325" actId="1038"/>
          <ac:grpSpMkLst>
            <pc:docMk/>
            <pc:sldMk cId="3935392718" sldId="2141412467"/>
            <ac:grpSpMk id="71" creationId="{EBCB826C-008D-CE29-DF19-B8ED62281D18}"/>
          </ac:grpSpMkLst>
        </pc:grpChg>
        <pc:grpChg chg="mod">
          <ac:chgData name="Lefort, Eloise (Contractor)" userId="26bbe66d-679e-4f77-b853-2552684426a6" providerId="ADAL" clId="{DBE8BE01-674C-41E8-985F-CE7C05155AA3}" dt="2023-07-06T05:35:08.650" v="287" actId="1038"/>
          <ac:grpSpMkLst>
            <pc:docMk/>
            <pc:sldMk cId="3935392718" sldId="2141412467"/>
            <ac:grpSpMk id="76" creationId="{83F1E194-03D1-7321-0F84-7E5F4EBCA901}"/>
          </ac:grpSpMkLst>
        </pc:grpChg>
        <pc:grpChg chg="mod">
          <ac:chgData name="Lefort, Eloise (Contractor)" userId="26bbe66d-679e-4f77-b853-2552684426a6" providerId="ADAL" clId="{DBE8BE01-674C-41E8-985F-CE7C05155AA3}" dt="2023-07-06T05:35:08.650" v="287" actId="1038"/>
          <ac:grpSpMkLst>
            <pc:docMk/>
            <pc:sldMk cId="3935392718" sldId="2141412467"/>
            <ac:grpSpMk id="81" creationId="{55FE12E4-F75E-3CBB-9C7C-9CBD176620FD}"/>
          </ac:grpSpMkLst>
        </pc:grpChg>
        <pc:grpChg chg="mod">
          <ac:chgData name="Lefort, Eloise (Contractor)" userId="26bbe66d-679e-4f77-b853-2552684426a6" providerId="ADAL" clId="{DBE8BE01-674C-41E8-985F-CE7C05155AA3}" dt="2023-07-06T05:36:39.638" v="325" actId="1038"/>
          <ac:grpSpMkLst>
            <pc:docMk/>
            <pc:sldMk cId="3935392718" sldId="2141412467"/>
            <ac:grpSpMk id="87" creationId="{BBA4D980-6EF6-1FC0-A316-128AFD736EC8}"/>
          </ac:grpSpMkLst>
        </pc:grpChg>
        <pc:grpChg chg="mod">
          <ac:chgData name="Lefort, Eloise (Contractor)" userId="26bbe66d-679e-4f77-b853-2552684426a6" providerId="ADAL" clId="{DBE8BE01-674C-41E8-985F-CE7C05155AA3}" dt="2023-07-06T05:36:39.638" v="325" actId="1038"/>
          <ac:grpSpMkLst>
            <pc:docMk/>
            <pc:sldMk cId="3935392718" sldId="2141412467"/>
            <ac:grpSpMk id="93" creationId="{DB99A339-5531-DFA7-03BD-2955DE1D6E4E}"/>
          </ac:grpSpMkLst>
        </pc:grpChg>
      </pc:sldChg>
      <pc:sldChg chg="modSp mod">
        <pc:chgData name="Lefort, Eloise (Contractor)" userId="26bbe66d-679e-4f77-b853-2552684426a6" providerId="ADAL" clId="{DBE8BE01-674C-41E8-985F-CE7C05155AA3}" dt="2023-07-06T05:41:43.450" v="483" actId="20577"/>
        <pc:sldMkLst>
          <pc:docMk/>
          <pc:sldMk cId="3049261080" sldId="2141412468"/>
        </pc:sldMkLst>
        <pc:spChg chg="mod">
          <ac:chgData name="Lefort, Eloise (Contractor)" userId="26bbe66d-679e-4f77-b853-2552684426a6" providerId="ADAL" clId="{DBE8BE01-674C-41E8-985F-CE7C05155AA3}" dt="2023-07-06T05:41:43.450" v="483" actId="20577"/>
          <ac:spMkLst>
            <pc:docMk/>
            <pc:sldMk cId="3049261080" sldId="2141412468"/>
            <ac:spMk id="4" creationId="{CD483359-CE85-8AB6-CF5D-3385019FF697}"/>
          </ac:spMkLst>
        </pc:spChg>
        <pc:spChg chg="mod">
          <ac:chgData name="Lefort, Eloise (Contractor)" userId="26bbe66d-679e-4f77-b853-2552684426a6" providerId="ADAL" clId="{DBE8BE01-674C-41E8-985F-CE7C05155AA3}" dt="2023-07-06T05:37:22.009" v="347"/>
          <ac:spMkLst>
            <pc:docMk/>
            <pc:sldMk cId="3049261080" sldId="2141412468"/>
            <ac:spMk id="5" creationId="{455E1F1F-848F-4AE7-96D5-B841717C3E00}"/>
          </ac:spMkLst>
        </pc:spChg>
        <pc:spChg chg="mod">
          <ac:chgData name="Lefort, Eloise (Contractor)" userId="26bbe66d-679e-4f77-b853-2552684426a6" providerId="ADAL" clId="{DBE8BE01-674C-41E8-985F-CE7C05155AA3}" dt="2023-07-06T05:38:43.988" v="390" actId="1038"/>
          <ac:spMkLst>
            <pc:docMk/>
            <pc:sldMk cId="3049261080" sldId="2141412468"/>
            <ac:spMk id="6" creationId="{157E56B3-2610-8492-439C-D831BC056636}"/>
          </ac:spMkLst>
        </pc:spChg>
        <pc:spChg chg="mod">
          <ac:chgData name="Lefort, Eloise (Contractor)" userId="26bbe66d-679e-4f77-b853-2552684426a6" providerId="ADAL" clId="{DBE8BE01-674C-41E8-985F-CE7C05155AA3}" dt="2023-07-06T05:38:21.105" v="369" actId="20577"/>
          <ac:spMkLst>
            <pc:docMk/>
            <pc:sldMk cId="3049261080" sldId="2141412468"/>
            <ac:spMk id="7" creationId="{AE96B209-8702-A3FE-B2CE-A910B9D55592}"/>
          </ac:spMkLst>
        </pc:spChg>
        <pc:spChg chg="mod">
          <ac:chgData name="Lefort, Eloise (Contractor)" userId="26bbe66d-679e-4f77-b853-2552684426a6" providerId="ADAL" clId="{DBE8BE01-674C-41E8-985F-CE7C05155AA3}" dt="2023-07-06T05:37:02.398" v="331"/>
          <ac:spMkLst>
            <pc:docMk/>
            <pc:sldMk cId="3049261080" sldId="2141412468"/>
            <ac:spMk id="8" creationId="{16B2BB81-02A2-4C10-9885-B1EA18BDEC64}"/>
          </ac:spMkLst>
        </pc:spChg>
        <pc:spChg chg="mod">
          <ac:chgData name="Lefort, Eloise (Contractor)" userId="26bbe66d-679e-4f77-b853-2552684426a6" providerId="ADAL" clId="{DBE8BE01-674C-41E8-985F-CE7C05155AA3}" dt="2023-07-06T05:36:59.004" v="330"/>
          <ac:spMkLst>
            <pc:docMk/>
            <pc:sldMk cId="3049261080" sldId="2141412468"/>
            <ac:spMk id="11" creationId="{E4BECCCD-E0FE-411A-B147-080B52B6A7B1}"/>
          </ac:spMkLst>
        </pc:spChg>
        <pc:spChg chg="mod">
          <ac:chgData name="Lefort, Eloise (Contractor)" userId="26bbe66d-679e-4f77-b853-2552684426a6" providerId="ADAL" clId="{DBE8BE01-674C-41E8-985F-CE7C05155AA3}" dt="2023-07-06T05:38:05.580" v="361" actId="14100"/>
          <ac:spMkLst>
            <pc:docMk/>
            <pc:sldMk cId="3049261080" sldId="2141412468"/>
            <ac:spMk id="22" creationId="{DCD5BD00-E60C-B15A-9743-CD018C4F2394}"/>
          </ac:spMkLst>
        </pc:spChg>
        <pc:spChg chg="mod">
          <ac:chgData name="Lefort, Eloise (Contractor)" userId="26bbe66d-679e-4f77-b853-2552684426a6" providerId="ADAL" clId="{DBE8BE01-674C-41E8-985F-CE7C05155AA3}" dt="2023-07-06T05:38:59.683" v="395" actId="14100"/>
          <ac:spMkLst>
            <pc:docMk/>
            <pc:sldMk cId="3049261080" sldId="2141412468"/>
            <ac:spMk id="24" creationId="{7D3E2987-A680-8E20-9FF1-1B9A4D9D129A}"/>
          </ac:spMkLst>
        </pc:spChg>
        <pc:spChg chg="mod">
          <ac:chgData name="Lefort, Eloise (Contractor)" userId="26bbe66d-679e-4f77-b853-2552684426a6" providerId="ADAL" clId="{DBE8BE01-674C-41E8-985F-CE7C05155AA3}" dt="2023-07-06T05:41:10.073" v="453" actId="1076"/>
          <ac:spMkLst>
            <pc:docMk/>
            <pc:sldMk cId="3049261080" sldId="2141412468"/>
            <ac:spMk id="30" creationId="{921411B2-02E3-640F-8DA6-829178706DE8}"/>
          </ac:spMkLst>
        </pc:spChg>
        <pc:spChg chg="mod">
          <ac:chgData name="Lefort, Eloise (Contractor)" userId="26bbe66d-679e-4f77-b853-2552684426a6" providerId="ADAL" clId="{DBE8BE01-674C-41E8-985F-CE7C05155AA3}" dt="2023-07-06T05:38:34.713" v="371" actId="1076"/>
          <ac:spMkLst>
            <pc:docMk/>
            <pc:sldMk cId="3049261080" sldId="2141412468"/>
            <ac:spMk id="46" creationId="{C4F8ADF3-30EF-315D-14C4-FB3218CDC8A4}"/>
          </ac:spMkLst>
        </pc:spChg>
        <pc:spChg chg="mod">
          <ac:chgData name="Lefort, Eloise (Contractor)" userId="26bbe66d-679e-4f77-b853-2552684426a6" providerId="ADAL" clId="{DBE8BE01-674C-41E8-985F-CE7C05155AA3}" dt="2023-07-06T05:39:40.898" v="427" actId="1038"/>
          <ac:spMkLst>
            <pc:docMk/>
            <pc:sldMk cId="3049261080" sldId="2141412468"/>
            <ac:spMk id="105" creationId="{EB5F3C88-BEEF-3E4A-D901-5B83FA29D0BC}"/>
          </ac:spMkLst>
        </pc:spChg>
        <pc:spChg chg="mod">
          <ac:chgData name="Lefort, Eloise (Contractor)" userId="26bbe66d-679e-4f77-b853-2552684426a6" providerId="ADAL" clId="{DBE8BE01-674C-41E8-985F-CE7C05155AA3}" dt="2023-07-06T05:40:43.882" v="445" actId="14100"/>
          <ac:spMkLst>
            <pc:docMk/>
            <pc:sldMk cId="3049261080" sldId="2141412468"/>
            <ac:spMk id="125" creationId="{491A869D-AC82-A61C-0798-86EF8D79AF37}"/>
          </ac:spMkLst>
        </pc:spChg>
        <pc:spChg chg="mod">
          <ac:chgData name="Lefort, Eloise (Contractor)" userId="26bbe66d-679e-4f77-b853-2552684426a6" providerId="ADAL" clId="{DBE8BE01-674C-41E8-985F-CE7C05155AA3}" dt="2023-07-06T05:41:32.660" v="479" actId="1038"/>
          <ac:spMkLst>
            <pc:docMk/>
            <pc:sldMk cId="3049261080" sldId="2141412468"/>
            <ac:spMk id="131" creationId="{9882E874-B845-DFAF-E4FC-E3FD5A95B040}"/>
          </ac:spMkLst>
        </pc:spChg>
        <pc:spChg chg="mod">
          <ac:chgData name="Lefort, Eloise (Contractor)" userId="26bbe66d-679e-4f77-b853-2552684426a6" providerId="ADAL" clId="{DBE8BE01-674C-41E8-985F-CE7C05155AA3}" dt="2023-07-06T05:41:21.953" v="458" actId="14100"/>
          <ac:spMkLst>
            <pc:docMk/>
            <pc:sldMk cId="3049261080" sldId="2141412468"/>
            <ac:spMk id="139" creationId="{87DD8D2A-3CB0-9A32-9457-575F67C9E290}"/>
          </ac:spMkLst>
        </pc:spChg>
        <pc:spChg chg="mod">
          <ac:chgData name="Lefort, Eloise (Contractor)" userId="26bbe66d-679e-4f77-b853-2552684426a6" providerId="ADAL" clId="{DBE8BE01-674C-41E8-985F-CE7C05155AA3}" dt="2023-07-06T05:39:31.865" v="401" actId="14100"/>
          <ac:spMkLst>
            <pc:docMk/>
            <pc:sldMk cId="3049261080" sldId="2141412468"/>
            <ac:spMk id="150" creationId="{6AB19DAB-C788-DF52-8A43-DF26398B91AC}"/>
          </ac:spMkLst>
        </pc:spChg>
        <pc:grpChg chg="mod">
          <ac:chgData name="Lefort, Eloise (Contractor)" userId="26bbe66d-679e-4f77-b853-2552684426a6" providerId="ADAL" clId="{DBE8BE01-674C-41E8-985F-CE7C05155AA3}" dt="2023-07-06T05:38:43.988" v="390" actId="1038"/>
          <ac:grpSpMkLst>
            <pc:docMk/>
            <pc:sldMk cId="3049261080" sldId="2141412468"/>
            <ac:grpSpMk id="15" creationId="{71F53778-334B-414B-5A95-E2D26B5A951A}"/>
          </ac:grpSpMkLst>
        </pc:grpChg>
        <pc:grpChg chg="mod">
          <ac:chgData name="Lefort, Eloise (Contractor)" userId="26bbe66d-679e-4f77-b853-2552684426a6" providerId="ADAL" clId="{DBE8BE01-674C-41E8-985F-CE7C05155AA3}" dt="2023-07-06T05:39:40.898" v="427" actId="1038"/>
          <ac:grpSpMkLst>
            <pc:docMk/>
            <pc:sldMk cId="3049261080" sldId="2141412468"/>
            <ac:grpSpMk id="25" creationId="{44399290-2D0F-5505-5250-E46A9D9557F1}"/>
          </ac:grpSpMkLst>
        </pc:grpChg>
        <pc:grpChg chg="mod">
          <ac:chgData name="Lefort, Eloise (Contractor)" userId="26bbe66d-679e-4f77-b853-2552684426a6" providerId="ADAL" clId="{DBE8BE01-674C-41E8-985F-CE7C05155AA3}" dt="2023-07-06T05:38:43.988" v="390" actId="1038"/>
          <ac:grpSpMkLst>
            <pc:docMk/>
            <pc:sldMk cId="3049261080" sldId="2141412468"/>
            <ac:grpSpMk id="36" creationId="{8B666184-BE22-B8DC-0BD2-1C24DB2825C9}"/>
          </ac:grpSpMkLst>
        </pc:grpChg>
        <pc:grpChg chg="mod">
          <ac:chgData name="Lefort, Eloise (Contractor)" userId="26bbe66d-679e-4f77-b853-2552684426a6" providerId="ADAL" clId="{DBE8BE01-674C-41E8-985F-CE7C05155AA3}" dt="2023-07-06T05:41:32.660" v="479" actId="1038"/>
          <ac:grpSpMkLst>
            <pc:docMk/>
            <pc:sldMk cId="3049261080" sldId="2141412468"/>
            <ac:grpSpMk id="126" creationId="{1969FA27-2573-0253-5A7D-143A93F7C5AC}"/>
          </ac:grpSpMkLst>
        </pc:grpChg>
        <pc:grpChg chg="mod">
          <ac:chgData name="Lefort, Eloise (Contractor)" userId="26bbe66d-679e-4f77-b853-2552684426a6" providerId="ADAL" clId="{DBE8BE01-674C-41E8-985F-CE7C05155AA3}" dt="2023-07-06T05:41:32.660" v="479" actId="1038"/>
          <ac:grpSpMkLst>
            <pc:docMk/>
            <pc:sldMk cId="3049261080" sldId="2141412468"/>
            <ac:grpSpMk id="140" creationId="{C5DCD224-2ECF-9191-0AA7-4238BA926128}"/>
          </ac:grpSpMkLst>
        </pc:grpChg>
        <pc:grpChg chg="mod">
          <ac:chgData name="Lefort, Eloise (Contractor)" userId="26bbe66d-679e-4f77-b853-2552684426a6" providerId="ADAL" clId="{DBE8BE01-674C-41E8-985F-CE7C05155AA3}" dt="2023-07-06T05:41:32.660" v="479" actId="1038"/>
          <ac:grpSpMkLst>
            <pc:docMk/>
            <pc:sldMk cId="3049261080" sldId="2141412468"/>
            <ac:grpSpMk id="145" creationId="{BDA4E75D-CB5E-9D89-84F8-2CD3E2EB1437}"/>
          </ac:grpSpMkLst>
        </pc:grpChg>
        <pc:grpChg chg="mod">
          <ac:chgData name="Lefort, Eloise (Contractor)" userId="26bbe66d-679e-4f77-b853-2552684426a6" providerId="ADAL" clId="{DBE8BE01-674C-41E8-985F-CE7C05155AA3}" dt="2023-07-06T05:39:40.898" v="427" actId="1038"/>
          <ac:grpSpMkLst>
            <pc:docMk/>
            <pc:sldMk cId="3049261080" sldId="2141412468"/>
            <ac:grpSpMk id="151" creationId="{A385FC87-B724-4204-6558-10BAD08A2148}"/>
          </ac:grpSpMkLst>
        </pc:grpChg>
        <pc:grpChg chg="mod">
          <ac:chgData name="Lefort, Eloise (Contractor)" userId="26bbe66d-679e-4f77-b853-2552684426a6" providerId="ADAL" clId="{DBE8BE01-674C-41E8-985F-CE7C05155AA3}" dt="2023-07-06T05:38:43.988" v="390" actId="1038"/>
          <ac:grpSpMkLst>
            <pc:docMk/>
            <pc:sldMk cId="3049261080" sldId="2141412468"/>
            <ac:grpSpMk id="156" creationId="{73B5B0F2-F8A8-1F34-4BFE-22364A93F3F6}"/>
          </ac:grpSpMkLst>
        </pc:grpChg>
      </pc:sldChg>
      <pc:sldChg chg="modSp mod">
        <pc:chgData name="Lefort, Eloise (Contractor)" userId="26bbe66d-679e-4f77-b853-2552684426a6" providerId="ADAL" clId="{DBE8BE01-674C-41E8-985F-CE7C05155AA3}" dt="2023-07-06T05:45:52.864" v="556" actId="14100"/>
        <pc:sldMkLst>
          <pc:docMk/>
          <pc:sldMk cId="3588653879" sldId="2141412469"/>
        </pc:sldMkLst>
        <pc:spChg chg="mod">
          <ac:chgData name="Lefort, Eloise (Contractor)" userId="26bbe66d-679e-4f77-b853-2552684426a6" providerId="ADAL" clId="{DBE8BE01-674C-41E8-985F-CE7C05155AA3}" dt="2023-07-06T05:45:52.864" v="556" actId="14100"/>
          <ac:spMkLst>
            <pc:docMk/>
            <pc:sldMk cId="3588653879" sldId="2141412469"/>
            <ac:spMk id="3" creationId="{1B8B7A5C-7D70-4B6F-8BBE-36A17E9BECBF}"/>
          </ac:spMkLst>
        </pc:spChg>
        <pc:spChg chg="mod">
          <ac:chgData name="Lefort, Eloise (Contractor)" userId="26bbe66d-679e-4f77-b853-2552684426a6" providerId="ADAL" clId="{DBE8BE01-674C-41E8-985F-CE7C05155AA3}" dt="2023-07-06T05:42:05.592" v="489"/>
          <ac:spMkLst>
            <pc:docMk/>
            <pc:sldMk cId="3588653879" sldId="2141412469"/>
            <ac:spMk id="4" creationId="{C50F72E1-2B3C-40FE-859B-358C909E3AC4}"/>
          </ac:spMkLst>
        </pc:spChg>
        <pc:spChg chg="mod">
          <ac:chgData name="Lefort, Eloise (Contractor)" userId="26bbe66d-679e-4f77-b853-2552684426a6" providerId="ADAL" clId="{DBE8BE01-674C-41E8-985F-CE7C05155AA3}" dt="2023-07-06T05:41:54.021" v="485"/>
          <ac:spMkLst>
            <pc:docMk/>
            <pc:sldMk cId="3588653879" sldId="2141412469"/>
            <ac:spMk id="5" creationId="{CC4E363C-9136-4197-9C7B-EE9FEB89B399}"/>
          </ac:spMkLst>
        </pc:spChg>
        <pc:spChg chg="mod">
          <ac:chgData name="Lefort, Eloise (Contractor)" userId="26bbe66d-679e-4f77-b853-2552684426a6" providerId="ADAL" clId="{DBE8BE01-674C-41E8-985F-CE7C05155AA3}" dt="2023-07-06T05:43:48.449" v="518" actId="20577"/>
          <ac:spMkLst>
            <pc:docMk/>
            <pc:sldMk cId="3588653879" sldId="2141412469"/>
            <ac:spMk id="8" creationId="{BBD2CA59-CA35-7FAD-53F2-27951FEDDEB1}"/>
          </ac:spMkLst>
        </pc:spChg>
        <pc:spChg chg="mod">
          <ac:chgData name="Lefort, Eloise (Contractor)" userId="26bbe66d-679e-4f77-b853-2552684426a6" providerId="ADAL" clId="{DBE8BE01-674C-41E8-985F-CE7C05155AA3}" dt="2023-07-06T05:41:49.606" v="484"/>
          <ac:spMkLst>
            <pc:docMk/>
            <pc:sldMk cId="3588653879" sldId="2141412469"/>
            <ac:spMk id="11" creationId="{E4BECCCD-E0FE-411A-B147-080B52B6A7B1}"/>
          </ac:spMkLst>
        </pc:spChg>
        <pc:spChg chg="mod">
          <ac:chgData name="Lefort, Eloise (Contractor)" userId="26bbe66d-679e-4f77-b853-2552684426a6" providerId="ADAL" clId="{DBE8BE01-674C-41E8-985F-CE7C05155AA3}" dt="2023-07-06T05:42:53.689" v="509" actId="14100"/>
          <ac:spMkLst>
            <pc:docMk/>
            <pc:sldMk cId="3588653879" sldId="2141412469"/>
            <ac:spMk id="17" creationId="{BE23928B-A5F4-2671-039A-080BAF96DC99}"/>
          </ac:spMkLst>
        </pc:spChg>
        <pc:spChg chg="mod">
          <ac:chgData name="Lefort, Eloise (Contractor)" userId="26bbe66d-679e-4f77-b853-2552684426a6" providerId="ADAL" clId="{DBE8BE01-674C-41E8-985F-CE7C05155AA3}" dt="2023-07-06T05:42:57.827" v="510" actId="255"/>
          <ac:spMkLst>
            <pc:docMk/>
            <pc:sldMk cId="3588653879" sldId="2141412469"/>
            <ac:spMk id="29" creationId="{37AF573B-1C4C-98E8-7E48-34D2E9A15EA6}"/>
          </ac:spMkLst>
        </pc:spChg>
        <pc:spChg chg="mod">
          <ac:chgData name="Lefort, Eloise (Contractor)" userId="26bbe66d-679e-4f77-b853-2552684426a6" providerId="ADAL" clId="{DBE8BE01-674C-41E8-985F-CE7C05155AA3}" dt="2023-07-06T05:45:20.413" v="545" actId="255"/>
          <ac:spMkLst>
            <pc:docMk/>
            <pc:sldMk cId="3588653879" sldId="2141412469"/>
            <ac:spMk id="65" creationId="{FD057383-309D-4E22-17AB-620A13F85E7E}"/>
          </ac:spMkLst>
        </pc:spChg>
        <pc:spChg chg="mod">
          <ac:chgData name="Lefort, Eloise (Contractor)" userId="26bbe66d-679e-4f77-b853-2552684426a6" providerId="ADAL" clId="{DBE8BE01-674C-41E8-985F-CE7C05155AA3}" dt="2023-07-06T05:45:08.481" v="541" actId="20577"/>
          <ac:spMkLst>
            <pc:docMk/>
            <pc:sldMk cId="3588653879" sldId="2141412469"/>
            <ac:spMk id="67" creationId="{341E2BDC-421C-2979-33B3-3E3451F4B2D2}"/>
          </ac:spMkLst>
        </pc:spChg>
        <pc:spChg chg="mod">
          <ac:chgData name="Lefort, Eloise (Contractor)" userId="26bbe66d-679e-4f77-b853-2552684426a6" providerId="ADAL" clId="{DBE8BE01-674C-41E8-985F-CE7C05155AA3}" dt="2023-07-06T05:45:34.881" v="551" actId="20577"/>
          <ac:spMkLst>
            <pc:docMk/>
            <pc:sldMk cId="3588653879" sldId="2141412469"/>
            <ac:spMk id="69" creationId="{B9E31F89-5574-9650-87D4-F4A9B6EA55EB}"/>
          </ac:spMkLst>
        </pc:spChg>
        <pc:spChg chg="mod">
          <ac:chgData name="Lefort, Eloise (Contractor)" userId="26bbe66d-679e-4f77-b853-2552684426a6" providerId="ADAL" clId="{DBE8BE01-674C-41E8-985F-CE7C05155AA3}" dt="2023-07-06T05:44:53.585" v="534" actId="20577"/>
          <ac:spMkLst>
            <pc:docMk/>
            <pc:sldMk cId="3588653879" sldId="2141412469"/>
            <ac:spMk id="70" creationId="{4C22AE4E-3CE1-2B11-1F11-72BE896198E4}"/>
          </ac:spMkLst>
        </pc:spChg>
        <pc:spChg chg="mod">
          <ac:chgData name="Lefort, Eloise (Contractor)" userId="26bbe66d-679e-4f77-b853-2552684426a6" providerId="ADAL" clId="{DBE8BE01-674C-41E8-985F-CE7C05155AA3}" dt="2023-07-06T05:44:35.928" v="528" actId="1076"/>
          <ac:spMkLst>
            <pc:docMk/>
            <pc:sldMk cId="3588653879" sldId="2141412469"/>
            <ac:spMk id="74" creationId="{27AE6E43-0D7B-2A38-D973-A959A06D15DF}"/>
          </ac:spMkLst>
        </pc:spChg>
      </pc:sldChg>
      <pc:sldChg chg="modSp mod">
        <pc:chgData name="Lefort, Eloise (Contractor)" userId="26bbe66d-679e-4f77-b853-2552684426a6" providerId="ADAL" clId="{DBE8BE01-674C-41E8-985F-CE7C05155AA3}" dt="2023-07-06T05:49:04.952" v="618" actId="948"/>
        <pc:sldMkLst>
          <pc:docMk/>
          <pc:sldMk cId="1956964759" sldId="2141412470"/>
        </pc:sldMkLst>
        <pc:spChg chg="mod">
          <ac:chgData name="Lefort, Eloise (Contractor)" userId="26bbe66d-679e-4f77-b853-2552684426a6" providerId="ADAL" clId="{DBE8BE01-674C-41E8-985F-CE7C05155AA3}" dt="2023-07-06T05:46:18.375" v="564"/>
          <ac:spMkLst>
            <pc:docMk/>
            <pc:sldMk cId="1956964759" sldId="2141412470"/>
            <ac:spMk id="4" creationId="{C50F72E1-2B3C-40FE-859B-358C909E3AC4}"/>
          </ac:spMkLst>
        </pc:spChg>
        <pc:spChg chg="mod">
          <ac:chgData name="Lefort, Eloise (Contractor)" userId="26bbe66d-679e-4f77-b853-2552684426a6" providerId="ADAL" clId="{DBE8BE01-674C-41E8-985F-CE7C05155AA3}" dt="2023-07-06T05:46:07.319" v="558"/>
          <ac:spMkLst>
            <pc:docMk/>
            <pc:sldMk cId="1956964759" sldId="2141412470"/>
            <ac:spMk id="5" creationId="{CC4E363C-9136-4197-9C7B-EE9FEB89B399}"/>
          </ac:spMkLst>
        </pc:spChg>
        <pc:spChg chg="mod">
          <ac:chgData name="Lefort, Eloise (Contractor)" userId="26bbe66d-679e-4f77-b853-2552684426a6" providerId="ADAL" clId="{DBE8BE01-674C-41E8-985F-CE7C05155AA3}" dt="2023-07-06T05:46:04.475" v="557"/>
          <ac:spMkLst>
            <pc:docMk/>
            <pc:sldMk cId="1956964759" sldId="2141412470"/>
            <ac:spMk id="11" creationId="{E4BECCCD-E0FE-411A-B147-080B52B6A7B1}"/>
          </ac:spMkLst>
        </pc:spChg>
        <pc:spChg chg="mod">
          <ac:chgData name="Lefort, Eloise (Contractor)" userId="26bbe66d-679e-4f77-b853-2552684426a6" providerId="ADAL" clId="{DBE8BE01-674C-41E8-985F-CE7C05155AA3}" dt="2023-07-06T05:49:04.952" v="618" actId="948"/>
          <ac:spMkLst>
            <pc:docMk/>
            <pc:sldMk cId="1956964759" sldId="2141412470"/>
            <ac:spMk id="15" creationId="{CD9019A1-1D90-2615-B93F-FC7D12EA9FCC}"/>
          </ac:spMkLst>
        </pc:spChg>
        <pc:spChg chg="mod">
          <ac:chgData name="Lefort, Eloise (Contractor)" userId="26bbe66d-679e-4f77-b853-2552684426a6" providerId="ADAL" clId="{DBE8BE01-674C-41E8-985F-CE7C05155AA3}" dt="2023-07-06T05:48:19.568" v="611" actId="14100"/>
          <ac:spMkLst>
            <pc:docMk/>
            <pc:sldMk cId="1956964759" sldId="2141412470"/>
            <ac:spMk id="17" creationId="{F682184D-286B-B260-DB52-CACB781095E6}"/>
          </ac:spMkLst>
        </pc:spChg>
        <pc:spChg chg="mod">
          <ac:chgData name="Lefort, Eloise (Contractor)" userId="26bbe66d-679e-4f77-b853-2552684426a6" providerId="ADAL" clId="{DBE8BE01-674C-41E8-985F-CE7C05155AA3}" dt="2023-07-06T05:46:51.792" v="585" actId="14100"/>
          <ac:spMkLst>
            <pc:docMk/>
            <pc:sldMk cId="1956964759" sldId="2141412470"/>
            <ac:spMk id="23" creationId="{7D0B2266-3454-E4AA-ACC0-A48A7EC6AC9A}"/>
          </ac:spMkLst>
        </pc:spChg>
        <pc:spChg chg="mod">
          <ac:chgData name="Lefort, Eloise (Contractor)" userId="26bbe66d-679e-4f77-b853-2552684426a6" providerId="ADAL" clId="{DBE8BE01-674C-41E8-985F-CE7C05155AA3}" dt="2023-07-06T05:48:24.520" v="613" actId="14100"/>
          <ac:spMkLst>
            <pc:docMk/>
            <pc:sldMk cId="1956964759" sldId="2141412470"/>
            <ac:spMk id="4101" creationId="{93F66F3E-99E5-BD6A-75B7-A9E8558FD233}"/>
          </ac:spMkLst>
        </pc:spChg>
      </pc:sldChg>
      <pc:sldChg chg="modSp mod">
        <pc:chgData name="Lefort, Eloise (Contractor)" userId="26bbe66d-679e-4f77-b853-2552684426a6" providerId="ADAL" clId="{DBE8BE01-674C-41E8-985F-CE7C05155AA3}" dt="2023-07-06T05:49:32.342" v="626"/>
        <pc:sldMkLst>
          <pc:docMk/>
          <pc:sldMk cId="4239264820" sldId="2141412471"/>
        </pc:sldMkLst>
        <pc:spChg chg="mod">
          <ac:chgData name="Lefort, Eloise (Contractor)" userId="26bbe66d-679e-4f77-b853-2552684426a6" providerId="ADAL" clId="{DBE8BE01-674C-41E8-985F-CE7C05155AA3}" dt="2023-07-06T05:49:24.673" v="623"/>
          <ac:spMkLst>
            <pc:docMk/>
            <pc:sldMk cId="4239264820" sldId="2141412471"/>
            <ac:spMk id="2" creationId="{6DA16305-190D-4106-BCF3-99625872445F}"/>
          </ac:spMkLst>
        </pc:spChg>
        <pc:spChg chg="mod">
          <ac:chgData name="Lefort, Eloise (Contractor)" userId="26bbe66d-679e-4f77-b853-2552684426a6" providerId="ADAL" clId="{DBE8BE01-674C-41E8-985F-CE7C05155AA3}" dt="2023-07-06T05:49:16.679" v="620"/>
          <ac:spMkLst>
            <pc:docMk/>
            <pc:sldMk cId="4239264820" sldId="2141412471"/>
            <ac:spMk id="3" creationId="{75D19892-0DF4-4E38-8E1E-4460CB00A121}"/>
          </ac:spMkLst>
        </pc:spChg>
        <pc:spChg chg="mod">
          <ac:chgData name="Lefort, Eloise (Contractor)" userId="26bbe66d-679e-4f77-b853-2552684426a6" providerId="ADAL" clId="{DBE8BE01-674C-41E8-985F-CE7C05155AA3}" dt="2023-07-06T05:49:32.342" v="626"/>
          <ac:spMkLst>
            <pc:docMk/>
            <pc:sldMk cId="4239264820" sldId="2141412471"/>
            <ac:spMk id="7" creationId="{10D08A02-39F4-1866-5C3C-B78043D62089}"/>
          </ac:spMkLst>
        </pc:spChg>
        <pc:spChg chg="mod">
          <ac:chgData name="Lefort, Eloise (Contractor)" userId="26bbe66d-679e-4f77-b853-2552684426a6" providerId="ADAL" clId="{DBE8BE01-674C-41E8-985F-CE7C05155AA3}" dt="2023-07-06T05:49:14.103" v="619"/>
          <ac:spMkLst>
            <pc:docMk/>
            <pc:sldMk cId="4239264820" sldId="2141412471"/>
            <ac:spMk id="11" creationId="{E4BECCCD-E0FE-411A-B147-080B52B6A7B1}"/>
          </ac:spMkLst>
        </pc:spChg>
      </pc:sldChg>
      <pc:sldChg chg="modSp mod">
        <pc:chgData name="Lefort, Eloise (Contractor)" userId="26bbe66d-679e-4f77-b853-2552684426a6" providerId="ADAL" clId="{DBE8BE01-674C-41E8-985F-CE7C05155AA3}" dt="2023-07-06T05:49:56.796" v="634"/>
        <pc:sldMkLst>
          <pc:docMk/>
          <pc:sldMk cId="903657135" sldId="2141412472"/>
        </pc:sldMkLst>
        <pc:spChg chg="mod">
          <ac:chgData name="Lefort, Eloise (Contractor)" userId="26bbe66d-679e-4f77-b853-2552684426a6" providerId="ADAL" clId="{DBE8BE01-674C-41E8-985F-CE7C05155AA3}" dt="2023-07-06T05:49:49.793" v="631"/>
          <ac:spMkLst>
            <pc:docMk/>
            <pc:sldMk cId="903657135" sldId="2141412472"/>
            <ac:spMk id="4" creationId="{4192A15F-71D6-43E4-A7F5-F9B1CAE8287D}"/>
          </ac:spMkLst>
        </pc:spChg>
        <pc:spChg chg="mod">
          <ac:chgData name="Lefort, Eloise (Contractor)" userId="26bbe66d-679e-4f77-b853-2552684426a6" providerId="ADAL" clId="{DBE8BE01-674C-41E8-985F-CE7C05155AA3}" dt="2023-07-06T05:49:41.074" v="628"/>
          <ac:spMkLst>
            <pc:docMk/>
            <pc:sldMk cId="903657135" sldId="2141412472"/>
            <ac:spMk id="6" creationId="{C007B112-0931-4423-9123-742E612DB9F9}"/>
          </ac:spMkLst>
        </pc:spChg>
        <pc:spChg chg="mod">
          <ac:chgData name="Lefort, Eloise (Contractor)" userId="26bbe66d-679e-4f77-b853-2552684426a6" providerId="ADAL" clId="{DBE8BE01-674C-41E8-985F-CE7C05155AA3}" dt="2023-07-06T05:49:38.337" v="627"/>
          <ac:spMkLst>
            <pc:docMk/>
            <pc:sldMk cId="903657135" sldId="2141412472"/>
            <ac:spMk id="11" creationId="{E4BECCCD-E0FE-411A-B147-080B52B6A7B1}"/>
          </ac:spMkLst>
        </pc:spChg>
        <pc:spChg chg="mod">
          <ac:chgData name="Lefort, Eloise (Contractor)" userId="26bbe66d-679e-4f77-b853-2552684426a6" providerId="ADAL" clId="{DBE8BE01-674C-41E8-985F-CE7C05155AA3}" dt="2023-07-06T05:49:56.796" v="634"/>
          <ac:spMkLst>
            <pc:docMk/>
            <pc:sldMk cId="903657135" sldId="2141412472"/>
            <ac:spMk id="13" creationId="{FD1512F6-B6E0-3E41-A1FB-C632AABF891A}"/>
          </ac:spMkLst>
        </pc:spChg>
      </pc:sldChg>
      <pc:sldChg chg="del">
        <pc:chgData name="Lefort, Eloise (Contractor)" userId="26bbe66d-679e-4f77-b853-2552684426a6" providerId="ADAL" clId="{DBE8BE01-674C-41E8-985F-CE7C05155AA3}" dt="2023-07-06T05:26:14.217" v="122" actId="47"/>
        <pc:sldMkLst>
          <pc:docMk/>
          <pc:sldMk cId="4019613188" sldId="2141412474"/>
        </pc:sldMkLst>
      </pc:sldChg>
      <pc:sldChg chg="modSp mod">
        <pc:chgData name="Lefort, Eloise (Contractor)" userId="26bbe66d-679e-4f77-b853-2552684426a6" providerId="ADAL" clId="{DBE8BE01-674C-41E8-985F-CE7C05155AA3}" dt="2023-07-06T05:13:22.575" v="1" actId="20577"/>
        <pc:sldMkLst>
          <pc:docMk/>
          <pc:sldMk cId="32699776" sldId="2147375380"/>
        </pc:sldMkLst>
        <pc:spChg chg="mod">
          <ac:chgData name="Lefort, Eloise (Contractor)" userId="26bbe66d-679e-4f77-b853-2552684426a6" providerId="ADAL" clId="{DBE8BE01-674C-41E8-985F-CE7C05155AA3}" dt="2023-07-06T05:13:22.575" v="1" actId="20577"/>
          <ac:spMkLst>
            <pc:docMk/>
            <pc:sldMk cId="32699776" sldId="2147375380"/>
            <ac:spMk id="4" creationId="{D5EE9306-4B1A-492F-8FD5-0FE621930D45}"/>
          </ac:spMkLst>
        </pc:spChg>
      </pc:sldChg>
      <pc:sldChg chg="addSp modSp mod">
        <pc:chgData name="Lefort, Eloise (Contractor)" userId="26bbe66d-679e-4f77-b853-2552684426a6" providerId="ADAL" clId="{DBE8BE01-674C-41E8-985F-CE7C05155AA3}" dt="2023-07-06T05:22:14.232" v="88"/>
        <pc:sldMkLst>
          <pc:docMk/>
          <pc:sldMk cId="1623616075" sldId="2147375391"/>
        </pc:sldMkLst>
        <pc:spChg chg="add mod">
          <ac:chgData name="Lefort, Eloise (Contractor)" userId="26bbe66d-679e-4f77-b853-2552684426a6" providerId="ADAL" clId="{DBE8BE01-674C-41E8-985F-CE7C05155AA3}" dt="2023-07-06T05:22:14.232" v="88"/>
          <ac:spMkLst>
            <pc:docMk/>
            <pc:sldMk cId="1623616075" sldId="2147375391"/>
            <ac:spMk id="2" creationId="{6FD6F744-AE6E-6EA4-16AA-AEC97E3E59BD}"/>
          </ac:spMkLst>
        </pc:spChg>
        <pc:spChg chg="mod">
          <ac:chgData name="Lefort, Eloise (Contractor)" userId="26bbe66d-679e-4f77-b853-2552684426a6" providerId="ADAL" clId="{DBE8BE01-674C-41E8-985F-CE7C05155AA3}" dt="2023-07-06T05:18:41.749" v="45"/>
          <ac:spMkLst>
            <pc:docMk/>
            <pc:sldMk cId="1623616075" sldId="2147375391"/>
            <ac:spMk id="3" creationId="{0B2FB1D1-F8E0-AEE2-0A12-6E207DE385AF}"/>
          </ac:spMkLst>
        </pc:spChg>
        <pc:spChg chg="mod">
          <ac:chgData name="Lefort, Eloise (Contractor)" userId="26bbe66d-679e-4f77-b853-2552684426a6" providerId="ADAL" clId="{DBE8BE01-674C-41E8-985F-CE7C05155AA3}" dt="2023-07-06T05:22:08.427" v="87" actId="14100"/>
          <ac:spMkLst>
            <pc:docMk/>
            <pc:sldMk cId="1623616075" sldId="2147375391"/>
            <ac:spMk id="4" creationId="{099642B8-43CC-3C70-800F-BA14297310B2}"/>
          </ac:spMkLst>
        </pc:spChg>
        <pc:spChg chg="mod">
          <ac:chgData name="Lefort, Eloise (Contractor)" userId="26bbe66d-679e-4f77-b853-2552684426a6" providerId="ADAL" clId="{DBE8BE01-674C-41E8-985F-CE7C05155AA3}" dt="2023-07-06T05:21:48.137" v="83"/>
          <ac:spMkLst>
            <pc:docMk/>
            <pc:sldMk cId="1623616075" sldId="2147375391"/>
            <ac:spMk id="8" creationId="{33238DE1-C63F-C83A-6E56-9A38FC255790}"/>
          </ac:spMkLst>
        </pc:spChg>
        <pc:spChg chg="mod">
          <ac:chgData name="Lefort, Eloise (Contractor)" userId="26bbe66d-679e-4f77-b853-2552684426a6" providerId="ADAL" clId="{DBE8BE01-674C-41E8-985F-CE7C05155AA3}" dt="2023-07-06T05:21:52.931" v="84"/>
          <ac:spMkLst>
            <pc:docMk/>
            <pc:sldMk cId="1623616075" sldId="2147375391"/>
            <ac:spMk id="9" creationId="{B0BFAA5E-F6B6-7355-5513-FF4D77E44345}"/>
          </ac:spMkLst>
        </pc:spChg>
        <pc:spChg chg="mod">
          <ac:chgData name="Lefort, Eloise (Contractor)" userId="26bbe66d-679e-4f77-b853-2552684426a6" providerId="ADAL" clId="{DBE8BE01-674C-41E8-985F-CE7C05155AA3}" dt="2023-07-06T05:22:00.074" v="85"/>
          <ac:spMkLst>
            <pc:docMk/>
            <pc:sldMk cId="1623616075" sldId="2147375391"/>
            <ac:spMk id="12" creationId="{5FE9381A-A876-FFCF-053B-D018C8732A7D}"/>
          </ac:spMkLst>
        </pc:spChg>
        <pc:spChg chg="mod">
          <ac:chgData name="Lefort, Eloise (Contractor)" userId="26bbe66d-679e-4f77-b853-2552684426a6" providerId="ADAL" clId="{DBE8BE01-674C-41E8-985F-CE7C05155AA3}" dt="2023-07-06T05:21:42.810" v="82" actId="14100"/>
          <ac:spMkLst>
            <pc:docMk/>
            <pc:sldMk cId="1623616075" sldId="2147375391"/>
            <ac:spMk id="15" creationId="{376925DB-E5EF-9C62-75ED-A9CE8318A867}"/>
          </ac:spMkLst>
        </pc:spChg>
        <pc:spChg chg="mod">
          <ac:chgData name="Lefort, Eloise (Contractor)" userId="26bbe66d-679e-4f77-b853-2552684426a6" providerId="ADAL" clId="{DBE8BE01-674C-41E8-985F-CE7C05155AA3}" dt="2023-07-06T05:18:59.220" v="49" actId="20577"/>
          <ac:spMkLst>
            <pc:docMk/>
            <pc:sldMk cId="1623616075" sldId="2147375391"/>
            <ac:spMk id="17" creationId="{43C3AAF6-540F-5AC1-75F3-45EFDB9A91F7}"/>
          </ac:spMkLst>
        </pc:spChg>
        <pc:spChg chg="mod">
          <ac:chgData name="Lefort, Eloise (Contractor)" userId="26bbe66d-679e-4f77-b853-2552684426a6" providerId="ADAL" clId="{DBE8BE01-674C-41E8-985F-CE7C05155AA3}" dt="2023-07-06T05:19:33.692" v="58" actId="948"/>
          <ac:spMkLst>
            <pc:docMk/>
            <pc:sldMk cId="1623616075" sldId="2147375391"/>
            <ac:spMk id="30" creationId="{FFBA7BCD-3151-991D-61B0-185C2FE7BC39}"/>
          </ac:spMkLst>
        </pc:spChg>
        <pc:spChg chg="mod">
          <ac:chgData name="Lefort, Eloise (Contractor)" userId="26bbe66d-679e-4f77-b853-2552684426a6" providerId="ADAL" clId="{DBE8BE01-674C-41E8-985F-CE7C05155AA3}" dt="2023-07-06T05:19:59.715" v="64" actId="948"/>
          <ac:spMkLst>
            <pc:docMk/>
            <pc:sldMk cId="1623616075" sldId="2147375391"/>
            <ac:spMk id="32" creationId="{B238862B-E317-9D27-2327-2B957D732444}"/>
          </ac:spMkLst>
        </pc:spChg>
        <pc:spChg chg="mod">
          <ac:chgData name="Lefort, Eloise (Contractor)" userId="26bbe66d-679e-4f77-b853-2552684426a6" providerId="ADAL" clId="{DBE8BE01-674C-41E8-985F-CE7C05155AA3}" dt="2023-07-06T05:21:09.093" v="77" actId="20577"/>
          <ac:spMkLst>
            <pc:docMk/>
            <pc:sldMk cId="1623616075" sldId="2147375391"/>
            <ac:spMk id="34" creationId="{FF7AC6B6-70EC-508E-29B7-3E28FCA59196}"/>
          </ac:spMkLst>
        </pc:spChg>
        <pc:spChg chg="mod">
          <ac:chgData name="Lefort, Eloise (Contractor)" userId="26bbe66d-679e-4f77-b853-2552684426a6" providerId="ADAL" clId="{DBE8BE01-674C-41E8-985F-CE7C05155AA3}" dt="2023-07-06T05:19:04.731" v="50"/>
          <ac:spMkLst>
            <pc:docMk/>
            <pc:sldMk cId="1623616075" sldId="2147375391"/>
            <ac:spMk id="42" creationId="{1C2FC8E1-B7C7-49C5-B0F0-BEF3DE176008}"/>
          </ac:spMkLst>
        </pc:spChg>
        <pc:spChg chg="mod">
          <ac:chgData name="Lefort, Eloise (Contractor)" userId="26bbe66d-679e-4f77-b853-2552684426a6" providerId="ADAL" clId="{DBE8BE01-674C-41E8-985F-CE7C05155AA3}" dt="2023-07-06T05:21:16.920" v="78"/>
          <ac:spMkLst>
            <pc:docMk/>
            <pc:sldMk cId="1623616075" sldId="2147375391"/>
            <ac:spMk id="43" creationId="{630CD443-139E-4CC3-BF16-C59971E9F8E0}"/>
          </ac:spMkLst>
        </pc:spChg>
        <pc:spChg chg="mod">
          <ac:chgData name="Lefort, Eloise (Contractor)" userId="26bbe66d-679e-4f77-b853-2552684426a6" providerId="ADAL" clId="{DBE8BE01-674C-41E8-985F-CE7C05155AA3}" dt="2023-07-06T05:20:44.659" v="72" actId="948"/>
          <ac:spMkLst>
            <pc:docMk/>
            <pc:sldMk cId="1623616075" sldId="2147375391"/>
            <ac:spMk id="45" creationId="{6B212B32-F925-3865-8FEA-C745295FB7A4}"/>
          </ac:spMkLst>
        </pc:spChg>
      </pc:sldChg>
      <pc:sldChg chg="addSp modSp mod">
        <pc:chgData name="Lefort, Eloise (Contractor)" userId="26bbe66d-679e-4f77-b853-2552684426a6" providerId="ADAL" clId="{DBE8BE01-674C-41E8-985F-CE7C05155AA3}" dt="2023-07-06T05:23:41.694" v="100"/>
        <pc:sldMkLst>
          <pc:docMk/>
          <pc:sldMk cId="3791087949" sldId="2147375392"/>
        </pc:sldMkLst>
        <pc:spChg chg="add mod">
          <ac:chgData name="Lefort, Eloise (Contractor)" userId="26bbe66d-679e-4f77-b853-2552684426a6" providerId="ADAL" clId="{DBE8BE01-674C-41E8-985F-CE7C05155AA3}" dt="2023-07-06T05:23:41.694" v="100"/>
          <ac:spMkLst>
            <pc:docMk/>
            <pc:sldMk cId="3791087949" sldId="2147375392"/>
            <ac:spMk id="2" creationId="{4CB5746D-EE69-5699-6C50-C887168DC5C8}"/>
          </ac:spMkLst>
        </pc:spChg>
        <pc:spChg chg="mod">
          <ac:chgData name="Lefort, Eloise (Contractor)" userId="26bbe66d-679e-4f77-b853-2552684426a6" providerId="ADAL" clId="{DBE8BE01-674C-41E8-985F-CE7C05155AA3}" dt="2023-07-06T05:23:15.129" v="96"/>
          <ac:spMkLst>
            <pc:docMk/>
            <pc:sldMk cId="3791087949" sldId="2147375392"/>
            <ac:spMk id="3" creationId="{CF3A770F-ED50-6671-41BB-6B9ED0A5B677}"/>
          </ac:spMkLst>
        </pc:spChg>
        <pc:spChg chg="mod">
          <ac:chgData name="Lefort, Eloise (Contractor)" userId="26bbe66d-679e-4f77-b853-2552684426a6" providerId="ADAL" clId="{DBE8BE01-674C-41E8-985F-CE7C05155AA3}" dt="2023-07-06T05:23:08.475" v="95"/>
          <ac:spMkLst>
            <pc:docMk/>
            <pc:sldMk cId="3791087949" sldId="2147375392"/>
            <ac:spMk id="6" creationId="{71D39B81-560A-1B1C-FA68-007950123701}"/>
          </ac:spMkLst>
        </pc:spChg>
        <pc:spChg chg="mod">
          <ac:chgData name="Lefort, Eloise (Contractor)" userId="26bbe66d-679e-4f77-b853-2552684426a6" providerId="ADAL" clId="{DBE8BE01-674C-41E8-985F-CE7C05155AA3}" dt="2023-07-06T05:23:23.111" v="97"/>
          <ac:spMkLst>
            <pc:docMk/>
            <pc:sldMk cId="3791087949" sldId="2147375392"/>
            <ac:spMk id="8" creationId="{E99FD7B4-0241-64A2-7AE1-0721D54DDDC3}"/>
          </ac:spMkLst>
        </pc:spChg>
        <pc:spChg chg="mod">
          <ac:chgData name="Lefort, Eloise (Contractor)" userId="26bbe66d-679e-4f77-b853-2552684426a6" providerId="ADAL" clId="{DBE8BE01-674C-41E8-985F-CE7C05155AA3}" dt="2023-07-06T05:23:30.586" v="98"/>
          <ac:spMkLst>
            <pc:docMk/>
            <pc:sldMk cId="3791087949" sldId="2147375392"/>
            <ac:spMk id="9" creationId="{9991796E-4B73-9C63-B707-963D2FC56400}"/>
          </ac:spMkLst>
        </pc:spChg>
        <pc:spChg chg="mod">
          <ac:chgData name="Lefort, Eloise (Contractor)" userId="26bbe66d-679e-4f77-b853-2552684426a6" providerId="ADAL" clId="{DBE8BE01-674C-41E8-985F-CE7C05155AA3}" dt="2023-07-06T05:23:36.321" v="99"/>
          <ac:spMkLst>
            <pc:docMk/>
            <pc:sldMk cId="3791087949" sldId="2147375392"/>
            <ac:spMk id="10" creationId="{84EFB005-0551-2762-F604-022384D9F32E}"/>
          </ac:spMkLst>
        </pc:spChg>
      </pc:sldChg>
      <pc:sldChg chg="addSp modSp mod">
        <pc:chgData name="Lefort, Eloise (Contractor)" userId="26bbe66d-679e-4f77-b853-2552684426a6" providerId="ADAL" clId="{DBE8BE01-674C-41E8-985F-CE7C05155AA3}" dt="2023-07-06T05:18:35.206" v="44"/>
        <pc:sldMkLst>
          <pc:docMk/>
          <pc:sldMk cId="1551233346" sldId="2147375394"/>
        </pc:sldMkLst>
        <pc:spChg chg="add mod">
          <ac:chgData name="Lefort, Eloise (Contractor)" userId="26bbe66d-679e-4f77-b853-2552684426a6" providerId="ADAL" clId="{DBE8BE01-674C-41E8-985F-CE7C05155AA3}" dt="2023-07-06T05:18:35.206" v="44"/>
          <ac:spMkLst>
            <pc:docMk/>
            <pc:sldMk cId="1551233346" sldId="2147375394"/>
            <ac:spMk id="2" creationId="{231A74E4-94FA-6CA9-832A-28849B3C21D0}"/>
          </ac:spMkLst>
        </pc:spChg>
        <pc:spChg chg="mod">
          <ac:chgData name="Lefort, Eloise (Contractor)" userId="26bbe66d-679e-4f77-b853-2552684426a6" providerId="ADAL" clId="{DBE8BE01-674C-41E8-985F-CE7C05155AA3}" dt="2023-07-06T05:15:53.052" v="13"/>
          <ac:spMkLst>
            <pc:docMk/>
            <pc:sldMk cId="1551233346" sldId="2147375394"/>
            <ac:spMk id="4" creationId="{51795D1F-99A3-4728-80B8-E767E588BD1C}"/>
          </ac:spMkLst>
        </pc:spChg>
        <pc:spChg chg="mod">
          <ac:chgData name="Lefort, Eloise (Contractor)" userId="26bbe66d-679e-4f77-b853-2552684426a6" providerId="ADAL" clId="{DBE8BE01-674C-41E8-985F-CE7C05155AA3}" dt="2023-07-06T05:16:13.532" v="17"/>
          <ac:spMkLst>
            <pc:docMk/>
            <pc:sldMk cId="1551233346" sldId="2147375394"/>
            <ac:spMk id="5" creationId="{CCE56716-A14C-4C79-B0E8-53E04D005806}"/>
          </ac:spMkLst>
        </pc:spChg>
        <pc:spChg chg="mod">
          <ac:chgData name="Lefort, Eloise (Contractor)" userId="26bbe66d-679e-4f77-b853-2552684426a6" providerId="ADAL" clId="{DBE8BE01-674C-41E8-985F-CE7C05155AA3}" dt="2023-07-06T05:18:01.926" v="41" actId="255"/>
          <ac:spMkLst>
            <pc:docMk/>
            <pc:sldMk cId="1551233346" sldId="2147375394"/>
            <ac:spMk id="6" creationId="{9A939945-29C9-4AA1-8951-049266D42566}"/>
          </ac:spMkLst>
        </pc:spChg>
        <pc:spChg chg="mod">
          <ac:chgData name="Lefort, Eloise (Contractor)" userId="26bbe66d-679e-4f77-b853-2552684426a6" providerId="ADAL" clId="{DBE8BE01-674C-41E8-985F-CE7C05155AA3}" dt="2023-07-06T05:16:02.642" v="15"/>
          <ac:spMkLst>
            <pc:docMk/>
            <pc:sldMk cId="1551233346" sldId="2147375394"/>
            <ac:spMk id="8" creationId="{A13902C1-752C-A0AF-2E72-78AB92708B24}"/>
          </ac:spMkLst>
        </pc:spChg>
        <pc:spChg chg="mod">
          <ac:chgData name="Lefort, Eloise (Contractor)" userId="26bbe66d-679e-4f77-b853-2552684426a6" providerId="ADAL" clId="{DBE8BE01-674C-41E8-985F-CE7C05155AA3}" dt="2023-07-06T05:16:07.931" v="16"/>
          <ac:spMkLst>
            <pc:docMk/>
            <pc:sldMk cId="1551233346" sldId="2147375394"/>
            <ac:spMk id="9" creationId="{E2F7CF1B-D696-5796-ACA3-A3E87F32B263}"/>
          </ac:spMkLst>
        </pc:spChg>
        <pc:spChg chg="mod">
          <ac:chgData name="Lefort, Eloise (Contractor)" userId="26bbe66d-679e-4f77-b853-2552684426a6" providerId="ADAL" clId="{DBE8BE01-674C-41E8-985F-CE7C05155AA3}" dt="2023-07-06T05:16:22.773" v="20" actId="20577"/>
          <ac:spMkLst>
            <pc:docMk/>
            <pc:sldMk cId="1551233346" sldId="2147375394"/>
            <ac:spMk id="15" creationId="{B0999464-BA0F-4678-8FA1-D63D208DEA57}"/>
          </ac:spMkLst>
        </pc:spChg>
        <pc:spChg chg="mod">
          <ac:chgData name="Lefort, Eloise (Contractor)" userId="26bbe66d-679e-4f77-b853-2552684426a6" providerId="ADAL" clId="{DBE8BE01-674C-41E8-985F-CE7C05155AA3}" dt="2023-07-06T05:16:37.913" v="23" actId="20577"/>
          <ac:spMkLst>
            <pc:docMk/>
            <pc:sldMk cId="1551233346" sldId="2147375394"/>
            <ac:spMk id="16" creationId="{21826D59-1C10-4BBD-A9AB-878BC941D5C8}"/>
          </ac:spMkLst>
        </pc:spChg>
        <pc:spChg chg="mod">
          <ac:chgData name="Lefort, Eloise (Contractor)" userId="26bbe66d-679e-4f77-b853-2552684426a6" providerId="ADAL" clId="{DBE8BE01-674C-41E8-985F-CE7C05155AA3}" dt="2023-07-06T05:15:57.529" v="14"/>
          <ac:spMkLst>
            <pc:docMk/>
            <pc:sldMk cId="1551233346" sldId="2147375394"/>
            <ac:spMk id="26" creationId="{F4D9EF28-1469-4AC9-9805-6ED7C4E21995}"/>
          </ac:spMkLst>
        </pc:spChg>
        <pc:spChg chg="mod">
          <ac:chgData name="Lefort, Eloise (Contractor)" userId="26bbe66d-679e-4f77-b853-2552684426a6" providerId="ADAL" clId="{DBE8BE01-674C-41E8-985F-CE7C05155AA3}" dt="2023-07-06T05:18:26.703" v="43" actId="948"/>
          <ac:spMkLst>
            <pc:docMk/>
            <pc:sldMk cId="1551233346" sldId="2147375394"/>
            <ac:spMk id="46" creationId="{E2DC0106-676B-1E44-3EB4-5E3F3D281DA7}"/>
          </ac:spMkLst>
        </pc:spChg>
      </pc:sldChg>
      <pc:sldChg chg="addSp modSp mod">
        <pc:chgData name="Lefort, Eloise (Contractor)" userId="26bbe66d-679e-4f77-b853-2552684426a6" providerId="ADAL" clId="{DBE8BE01-674C-41E8-985F-CE7C05155AA3}" dt="2023-07-06T05:15:43.295" v="12"/>
        <pc:sldMkLst>
          <pc:docMk/>
          <pc:sldMk cId="4289886468" sldId="2147375395"/>
        </pc:sldMkLst>
        <pc:spChg chg="mod">
          <ac:chgData name="Lefort, Eloise (Contractor)" userId="26bbe66d-679e-4f77-b853-2552684426a6" providerId="ADAL" clId="{DBE8BE01-674C-41E8-985F-CE7C05155AA3}" dt="2023-07-06T05:13:49.321" v="4"/>
          <ac:spMkLst>
            <pc:docMk/>
            <pc:sldMk cId="4289886468" sldId="2147375395"/>
            <ac:spMk id="2" creationId="{1CBB0F57-66E2-43DB-31DD-359AADBE138C}"/>
          </ac:spMkLst>
        </pc:spChg>
        <pc:spChg chg="add mod">
          <ac:chgData name="Lefort, Eloise (Contractor)" userId="26bbe66d-679e-4f77-b853-2552684426a6" providerId="ADAL" clId="{DBE8BE01-674C-41E8-985F-CE7C05155AA3}" dt="2023-07-06T05:15:43.295" v="12"/>
          <ac:spMkLst>
            <pc:docMk/>
            <pc:sldMk cId="4289886468" sldId="2147375395"/>
            <ac:spMk id="3" creationId="{78F84D6A-94C3-1431-B984-9F121E015735}"/>
          </ac:spMkLst>
        </pc:spChg>
        <pc:spChg chg="mod">
          <ac:chgData name="Lefort, Eloise (Contractor)" userId="26bbe66d-679e-4f77-b853-2552684426a6" providerId="ADAL" clId="{DBE8BE01-674C-41E8-985F-CE7C05155AA3}" dt="2023-07-06T05:14:02.714" v="6"/>
          <ac:spMkLst>
            <pc:docMk/>
            <pc:sldMk cId="4289886468" sldId="2147375395"/>
            <ac:spMk id="6" creationId="{07E63D8E-C8A0-7DD1-D7B0-4ABA93FD74A8}"/>
          </ac:spMkLst>
        </pc:spChg>
        <pc:spChg chg="mod">
          <ac:chgData name="Lefort, Eloise (Contractor)" userId="26bbe66d-679e-4f77-b853-2552684426a6" providerId="ADAL" clId="{DBE8BE01-674C-41E8-985F-CE7C05155AA3}" dt="2023-07-06T05:14:19.710" v="8"/>
          <ac:spMkLst>
            <pc:docMk/>
            <pc:sldMk cId="4289886468" sldId="2147375395"/>
            <ac:spMk id="7" creationId="{8D756461-D107-903E-3F97-146F809DC165}"/>
          </ac:spMkLst>
        </pc:spChg>
        <pc:spChg chg="mod">
          <ac:chgData name="Lefort, Eloise (Contractor)" userId="26bbe66d-679e-4f77-b853-2552684426a6" providerId="ADAL" clId="{DBE8BE01-674C-41E8-985F-CE7C05155AA3}" dt="2023-07-06T05:14:35.833" v="11"/>
          <ac:spMkLst>
            <pc:docMk/>
            <pc:sldMk cId="4289886468" sldId="2147375395"/>
            <ac:spMk id="8" creationId="{FC77C162-074E-FC22-43AD-A3BEC4EAC564}"/>
          </ac:spMkLst>
        </pc:spChg>
      </pc:sldChg>
      <pc:sldChg chg="addSp modSp mod">
        <pc:chgData name="Lefort, Eloise (Contractor)" userId="26bbe66d-679e-4f77-b853-2552684426a6" providerId="ADAL" clId="{DBE8BE01-674C-41E8-985F-CE7C05155AA3}" dt="2023-07-06T05:26:50.424" v="130"/>
        <pc:sldMkLst>
          <pc:docMk/>
          <pc:sldMk cId="1270648325" sldId="2147375403"/>
        </pc:sldMkLst>
        <pc:spChg chg="add mod">
          <ac:chgData name="Lefort, Eloise (Contractor)" userId="26bbe66d-679e-4f77-b853-2552684426a6" providerId="ADAL" clId="{DBE8BE01-674C-41E8-985F-CE7C05155AA3}" dt="2023-07-06T05:26:50.424" v="130"/>
          <ac:spMkLst>
            <pc:docMk/>
            <pc:sldMk cId="1270648325" sldId="2147375403"/>
            <ac:spMk id="2" creationId="{25608353-A1A2-84A1-71CB-2A65DF8527E3}"/>
          </ac:spMkLst>
        </pc:spChg>
        <pc:spChg chg="mod">
          <ac:chgData name="Lefort, Eloise (Contractor)" userId="26bbe66d-679e-4f77-b853-2552684426a6" providerId="ADAL" clId="{DBE8BE01-674C-41E8-985F-CE7C05155AA3}" dt="2023-07-06T05:26:28.288" v="124"/>
          <ac:spMkLst>
            <pc:docMk/>
            <pc:sldMk cId="1270648325" sldId="2147375403"/>
            <ac:spMk id="3" creationId="{ADD98B88-6EEC-D80D-3755-6862A04B6EE1}"/>
          </ac:spMkLst>
        </pc:spChg>
        <pc:spChg chg="mod">
          <ac:chgData name="Lefort, Eloise (Contractor)" userId="26bbe66d-679e-4f77-b853-2552684426a6" providerId="ADAL" clId="{DBE8BE01-674C-41E8-985F-CE7C05155AA3}" dt="2023-07-06T05:26:23.362" v="123"/>
          <ac:spMkLst>
            <pc:docMk/>
            <pc:sldMk cId="1270648325" sldId="2147375403"/>
            <ac:spMk id="5" creationId="{B88C6064-B366-246B-C85C-B8251FA9B8E1}"/>
          </ac:spMkLst>
        </pc:spChg>
        <pc:spChg chg="mod">
          <ac:chgData name="Lefort, Eloise (Contractor)" userId="26bbe66d-679e-4f77-b853-2552684426a6" providerId="ADAL" clId="{DBE8BE01-674C-41E8-985F-CE7C05155AA3}" dt="2023-07-06T05:26:33.191" v="125"/>
          <ac:spMkLst>
            <pc:docMk/>
            <pc:sldMk cId="1270648325" sldId="2147375403"/>
            <ac:spMk id="6" creationId="{F87AE3AC-8F81-41CF-7F79-BB00EB7F7DC7}"/>
          </ac:spMkLst>
        </pc:spChg>
        <pc:spChg chg="mod">
          <ac:chgData name="Lefort, Eloise (Contractor)" userId="26bbe66d-679e-4f77-b853-2552684426a6" providerId="ADAL" clId="{DBE8BE01-674C-41E8-985F-CE7C05155AA3}" dt="2023-07-06T05:26:38.556" v="126"/>
          <ac:spMkLst>
            <pc:docMk/>
            <pc:sldMk cId="1270648325" sldId="2147375403"/>
            <ac:spMk id="8" creationId="{CC8484FD-D1FA-0499-4294-9971BEEEBD57}"/>
          </ac:spMkLst>
        </pc:spChg>
        <pc:spChg chg="mod">
          <ac:chgData name="Lefort, Eloise (Contractor)" userId="26bbe66d-679e-4f77-b853-2552684426a6" providerId="ADAL" clId="{DBE8BE01-674C-41E8-985F-CE7C05155AA3}" dt="2023-07-06T05:26:46.282" v="129" actId="115"/>
          <ac:spMkLst>
            <pc:docMk/>
            <pc:sldMk cId="1270648325" sldId="2147375403"/>
            <ac:spMk id="16" creationId="{0F5F354C-CB9B-0C8C-BE52-4E1B4EBCC48D}"/>
          </ac:spMkLst>
        </pc:spChg>
      </pc:sldChg>
      <pc:sldChg chg="del">
        <pc:chgData name="Lefort, Eloise (Contractor)" userId="26bbe66d-679e-4f77-b853-2552684426a6" providerId="ADAL" clId="{DBE8BE01-674C-41E8-985F-CE7C05155AA3}" dt="2023-07-06T05:32:38.407" v="225" actId="47"/>
        <pc:sldMkLst>
          <pc:docMk/>
          <pc:sldMk cId="4130015250" sldId="2147375404"/>
        </pc:sldMkLst>
      </pc:sldChg>
      <pc:sldChg chg="add">
        <pc:chgData name="Lefort, Eloise (Contractor)" userId="26bbe66d-679e-4f77-b853-2552684426a6" providerId="ADAL" clId="{DBE8BE01-674C-41E8-985F-CE7C05155AA3}" dt="2023-07-06T05:13:33.220" v="2"/>
        <pc:sldMkLst>
          <pc:docMk/>
          <pc:sldMk cId="1646882247" sldId="2147375405"/>
        </pc:sldMkLst>
      </pc:sldChg>
      <pc:sldChg chg="addSp modSp add mod">
        <pc:chgData name="Lefort, Eloise (Contractor)" userId="26bbe66d-679e-4f77-b853-2552684426a6" providerId="ADAL" clId="{DBE8BE01-674C-41E8-985F-CE7C05155AA3}" dt="2023-07-06T05:25:58.938" v="120"/>
        <pc:sldMkLst>
          <pc:docMk/>
          <pc:sldMk cId="2203249824" sldId="2147375406"/>
        </pc:sldMkLst>
        <pc:spChg chg="mod">
          <ac:chgData name="Lefort, Eloise (Contractor)" userId="26bbe66d-679e-4f77-b853-2552684426a6" providerId="ADAL" clId="{DBE8BE01-674C-41E8-985F-CE7C05155AA3}" dt="2023-07-06T05:25:31.717" v="118" actId="255"/>
          <ac:spMkLst>
            <pc:docMk/>
            <pc:sldMk cId="2203249824" sldId="2147375406"/>
            <ac:spMk id="2" creationId="{E52079A7-A6CE-0846-A796-EC1D98D36C52}"/>
          </ac:spMkLst>
        </pc:spChg>
        <pc:spChg chg="add mod">
          <ac:chgData name="Lefort, Eloise (Contractor)" userId="26bbe66d-679e-4f77-b853-2552684426a6" providerId="ADAL" clId="{DBE8BE01-674C-41E8-985F-CE7C05155AA3}" dt="2023-07-06T05:25:58.938" v="120"/>
          <ac:spMkLst>
            <pc:docMk/>
            <pc:sldMk cId="2203249824" sldId="2147375406"/>
            <ac:spMk id="3" creationId="{74DA3F06-A199-0D46-9F97-6F2B91E267CC}"/>
          </ac:spMkLst>
        </pc:spChg>
      </pc:sldChg>
      <pc:sldChg chg="add">
        <pc:chgData name="Lefort, Eloise (Contractor)" userId="26bbe66d-679e-4f77-b853-2552684426a6" providerId="ADAL" clId="{DBE8BE01-674C-41E8-985F-CE7C05155AA3}" dt="2023-07-06T05:26:10.529" v="121"/>
        <pc:sldMkLst>
          <pc:docMk/>
          <pc:sldMk cId="4165765793" sldId="2147375407"/>
        </pc:sldMkLst>
      </pc:sldChg>
    </pc:docChg>
  </pc:docChgLst>
  <pc:docChgLst>
    <pc:chgData name="Henri, Judith" userId="4ba6585c-0cca-4a7d-8196-86fcc3b0737f" providerId="ADAL" clId="{6AFEA264-5C47-4875-A5F9-C48A8049831A}"/>
    <pc:docChg chg="modSld">
      <pc:chgData name="Henri, Judith" userId="4ba6585c-0cca-4a7d-8196-86fcc3b0737f" providerId="ADAL" clId="{6AFEA264-5C47-4875-A5F9-C48A8049831A}" dt="2023-04-24T13:04:05.511" v="29" actId="20577"/>
      <pc:docMkLst>
        <pc:docMk/>
      </pc:docMkLst>
      <pc:sldChg chg="addSp modSp mod">
        <pc:chgData name="Henri, Judith" userId="4ba6585c-0cca-4a7d-8196-86fcc3b0737f" providerId="ADAL" clId="{6AFEA264-5C47-4875-A5F9-C48A8049831A}" dt="2023-04-24T13:04:05.511" v="29" actId="20577"/>
        <pc:sldMkLst>
          <pc:docMk/>
          <pc:sldMk cId="4130015250" sldId="2147375404"/>
        </pc:sldMkLst>
        <pc:spChg chg="mod">
          <ac:chgData name="Henri, Judith" userId="4ba6585c-0cca-4a7d-8196-86fcc3b0737f" providerId="ADAL" clId="{6AFEA264-5C47-4875-A5F9-C48A8049831A}" dt="2023-04-24T13:04:05.511" v="29" actId="20577"/>
          <ac:spMkLst>
            <pc:docMk/>
            <pc:sldMk cId="4130015250" sldId="2147375404"/>
            <ac:spMk id="4393" creationId="{C5412C79-0872-44CD-8FEC-C71A1B16F95F}"/>
          </ac:spMkLst>
        </pc:spChg>
        <pc:picChg chg="mod">
          <ac:chgData name="Henri, Judith" userId="4ba6585c-0cca-4a7d-8196-86fcc3b0737f" providerId="ADAL" clId="{6AFEA264-5C47-4875-A5F9-C48A8049831A}" dt="2023-04-24T13:03:43.315" v="4" actId="14100"/>
          <ac:picMkLst>
            <pc:docMk/>
            <pc:sldMk cId="4130015250" sldId="2147375404"/>
            <ac:picMk id="4" creationId="{57B11124-82BA-4C03-B566-88E342B79A4E}"/>
          </ac:picMkLst>
        </pc:picChg>
        <pc:picChg chg="add mod">
          <ac:chgData name="Henri, Judith" userId="4ba6585c-0cca-4a7d-8196-86fcc3b0737f" providerId="ADAL" clId="{6AFEA264-5C47-4875-A5F9-C48A8049831A}" dt="2023-04-24T13:03:46.589" v="5" actId="14100"/>
          <ac:picMkLst>
            <pc:docMk/>
            <pc:sldMk cId="4130015250" sldId="2147375404"/>
            <ac:picMk id="4387" creationId="{0DDF5A8B-FE9B-4B2A-BABC-79DB1785C0E3}"/>
          </ac:picMkLst>
        </pc:picChg>
        <pc:picChg chg="mod">
          <ac:chgData name="Henri, Judith" userId="4ba6585c-0cca-4a7d-8196-86fcc3b0737f" providerId="ADAL" clId="{6AFEA264-5C47-4875-A5F9-C48A8049831A}" dt="2023-04-24T13:03:41.274" v="3" actId="14100"/>
          <ac:picMkLst>
            <pc:docMk/>
            <pc:sldMk cId="4130015250" sldId="2147375404"/>
            <ac:picMk id="4395" creationId="{B5BA19C9-46B6-4BDB-9FB7-17CDDAE0D024}"/>
          </ac:picMkLst>
        </pc:picChg>
        <pc:picChg chg="mod">
          <ac:chgData name="Henri, Judith" userId="4ba6585c-0cca-4a7d-8196-86fcc3b0737f" providerId="ADAL" clId="{6AFEA264-5C47-4875-A5F9-C48A8049831A}" dt="2023-04-24T13:03:52.414" v="6" actId="14100"/>
          <ac:picMkLst>
            <pc:docMk/>
            <pc:sldMk cId="4130015250" sldId="2147375404"/>
            <ac:picMk id="4396" creationId="{B05E920E-1AB9-4943-AA40-27130697B8D6}"/>
          </ac:picMkLst>
        </pc:picChg>
      </pc:sldChg>
    </pc:docChg>
  </pc:docChgLst>
  <pc:docChgLst>
    <pc:chgData name="Henri, Judith" userId="S::judith.henri@terex.com::4ba6585c-0cca-4a7d-8196-86fcc3b0737f" providerId="AD" clId="Web-{F8EFB751-0471-9167-4199-FE08EEB2497D}"/>
    <pc:docChg chg="modSld">
      <pc:chgData name="Henri, Judith" userId="S::judith.henri@terex.com::4ba6585c-0cca-4a7d-8196-86fcc3b0737f" providerId="AD" clId="Web-{F8EFB751-0471-9167-4199-FE08EEB2497D}" dt="2023-04-21T12:00:36.668" v="0" actId="20577"/>
      <pc:docMkLst>
        <pc:docMk/>
      </pc:docMkLst>
      <pc:sldChg chg="modSp">
        <pc:chgData name="Henri, Judith" userId="S::judith.henri@terex.com::4ba6585c-0cca-4a7d-8196-86fcc3b0737f" providerId="AD" clId="Web-{F8EFB751-0471-9167-4199-FE08EEB2497D}" dt="2023-04-21T12:00:36.668" v="0" actId="20577"/>
        <pc:sldMkLst>
          <pc:docMk/>
          <pc:sldMk cId="3588653879" sldId="2141412469"/>
        </pc:sldMkLst>
        <pc:spChg chg="mod">
          <ac:chgData name="Henri, Judith" userId="S::judith.henri@terex.com::4ba6585c-0cca-4a7d-8196-86fcc3b0737f" providerId="AD" clId="Web-{F8EFB751-0471-9167-4199-FE08EEB2497D}" dt="2023-04-21T12:00:36.668" v="0" actId="20577"/>
          <ac:spMkLst>
            <pc:docMk/>
            <pc:sldMk cId="3588653879" sldId="2141412469"/>
            <ac:spMk id="68" creationId="{A8406DB4-8D2F-E4CD-2E1E-BD95FF5C66C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74085353212631"/>
          <c:y val="2.7126553226587295E-2"/>
          <c:w val="0.78528435377102046"/>
          <c:h val="0.81253115418407418"/>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14"/>
            <c:invertIfNegative val="0"/>
            <c:bubble3D val="0"/>
            <c:spPr>
              <a:solidFill>
                <a:schemeClr val="tx2"/>
              </a:solidFill>
              <a:ln>
                <a:noFill/>
              </a:ln>
              <a:effectLst/>
            </c:spPr>
            <c:extLst>
              <c:ext xmlns:c16="http://schemas.microsoft.com/office/drawing/2014/chart" uri="{C3380CC4-5D6E-409C-BE32-E72D297353CC}">
                <c16:uniqueId val="{00000008-D603-4ECC-882B-9C1DDA58993E}"/>
              </c:ext>
            </c:extLst>
          </c:dPt>
          <c:dPt>
            <c:idx val="15"/>
            <c:invertIfNegative val="0"/>
            <c:bubble3D val="0"/>
            <c:spPr>
              <a:solidFill>
                <a:schemeClr val="tx2"/>
              </a:solidFill>
              <a:ln>
                <a:noFill/>
              </a:ln>
              <a:effectLst/>
            </c:spPr>
            <c:extLst>
              <c:ext xmlns:c16="http://schemas.microsoft.com/office/drawing/2014/chart" uri="{C3380CC4-5D6E-409C-BE32-E72D297353CC}">
                <c16:uniqueId val="{00000007-D603-4ECC-882B-9C1DDA58993E}"/>
              </c:ext>
            </c:extLst>
          </c:dPt>
          <c:dPt>
            <c:idx val="16"/>
            <c:invertIfNegative val="0"/>
            <c:bubble3D val="0"/>
            <c:spPr>
              <a:solidFill>
                <a:schemeClr val="tx2"/>
              </a:solidFill>
              <a:ln>
                <a:noFill/>
              </a:ln>
              <a:effectLst/>
            </c:spPr>
            <c:extLst>
              <c:ext xmlns:c16="http://schemas.microsoft.com/office/drawing/2014/chart" uri="{C3380CC4-5D6E-409C-BE32-E72D297353CC}">
                <c16:uniqueId val="{00000006-D603-4ECC-882B-9C1DDA58993E}"/>
              </c:ext>
            </c:extLst>
          </c:dPt>
          <c:dPt>
            <c:idx val="17"/>
            <c:invertIfNegative val="0"/>
            <c:bubble3D val="0"/>
            <c:spPr>
              <a:solidFill>
                <a:schemeClr val="tx2"/>
              </a:solidFill>
              <a:ln>
                <a:noFill/>
              </a:ln>
              <a:effectLst/>
            </c:spPr>
            <c:extLst>
              <c:ext xmlns:c16="http://schemas.microsoft.com/office/drawing/2014/chart" uri="{C3380CC4-5D6E-409C-BE32-E72D297353CC}">
                <c16:uniqueId val="{00000005-D603-4ECC-882B-9C1DDA58993E}"/>
              </c:ext>
            </c:extLst>
          </c:dPt>
          <c:dPt>
            <c:idx val="18"/>
            <c:invertIfNegative val="0"/>
            <c:bubble3D val="0"/>
            <c:spPr>
              <a:solidFill>
                <a:schemeClr val="tx2"/>
              </a:solidFill>
              <a:ln>
                <a:noFill/>
              </a:ln>
              <a:effectLst/>
            </c:spPr>
            <c:extLst>
              <c:ext xmlns:c16="http://schemas.microsoft.com/office/drawing/2014/chart" uri="{C3380CC4-5D6E-409C-BE32-E72D297353CC}">
                <c16:uniqueId val="{00000004-D603-4ECC-882B-9C1DDA58993E}"/>
              </c:ext>
            </c:extLst>
          </c:dPt>
          <c:dPt>
            <c:idx val="19"/>
            <c:invertIfNegative val="0"/>
            <c:bubble3D val="0"/>
            <c:spPr>
              <a:solidFill>
                <a:schemeClr val="tx2"/>
              </a:solidFill>
              <a:ln>
                <a:noFill/>
              </a:ln>
              <a:effectLst/>
            </c:spPr>
            <c:extLst>
              <c:ext xmlns:c16="http://schemas.microsoft.com/office/drawing/2014/chart" uri="{C3380CC4-5D6E-409C-BE32-E72D297353CC}">
                <c16:uniqueId val="{00000003-D603-4ECC-882B-9C1DDA58993E}"/>
              </c:ext>
            </c:extLst>
          </c:dPt>
          <c:cat>
            <c:strRef>
              <c:f>Sheet1!$A$2:$A$21</c:f>
              <c:strCache>
                <c:ptCount val="20"/>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f</c:v>
                </c:pt>
                <c:pt idx="15">
                  <c:v>2023f</c:v>
                </c:pt>
                <c:pt idx="16">
                  <c:v>2024f</c:v>
                </c:pt>
                <c:pt idx="17">
                  <c:v>2025f</c:v>
                </c:pt>
                <c:pt idx="18">
                  <c:v>2026f</c:v>
                </c:pt>
                <c:pt idx="19">
                  <c:v>2027f</c:v>
                </c:pt>
              </c:strCache>
            </c:strRef>
          </c:cat>
          <c:val>
            <c:numRef>
              <c:f>Sheet1!$B$2:$B$21</c:f>
              <c:numCache>
                <c:formatCode>General</c:formatCode>
                <c:ptCount val="20"/>
                <c:pt idx="0">
                  <c:v>688861</c:v>
                </c:pt>
                <c:pt idx="1">
                  <c:v>672500</c:v>
                </c:pt>
                <c:pt idx="2">
                  <c:v>676642</c:v>
                </c:pt>
                <c:pt idx="3">
                  <c:v>679337</c:v>
                </c:pt>
                <c:pt idx="4">
                  <c:v>707031</c:v>
                </c:pt>
                <c:pt idx="5">
                  <c:v>738897</c:v>
                </c:pt>
                <c:pt idx="6">
                  <c:v>775213</c:v>
                </c:pt>
                <c:pt idx="7">
                  <c:v>801025</c:v>
                </c:pt>
                <c:pt idx="8">
                  <c:v>839807</c:v>
                </c:pt>
                <c:pt idx="9">
                  <c:v>873339</c:v>
                </c:pt>
                <c:pt idx="10">
                  <c:v>932384</c:v>
                </c:pt>
                <c:pt idx="11">
                  <c:v>973018</c:v>
                </c:pt>
                <c:pt idx="12">
                  <c:v>972259</c:v>
                </c:pt>
                <c:pt idx="13">
                  <c:v>1046705</c:v>
                </c:pt>
                <c:pt idx="14">
                  <c:v>1117074</c:v>
                </c:pt>
                <c:pt idx="15">
                  <c:v>1150586.22</c:v>
                </c:pt>
                <c:pt idx="16">
                  <c:v>1204642.371</c:v>
                </c:pt>
                <c:pt idx="17">
                  <c:v>1261262.4031500001</c:v>
                </c:pt>
                <c:pt idx="18">
                  <c:v>1320568.9534515</c:v>
                </c:pt>
                <c:pt idx="19">
                  <c:v>1382690.568473835</c:v>
                </c:pt>
              </c:numCache>
            </c:numRef>
          </c:val>
          <c:extLst>
            <c:ext xmlns:c16="http://schemas.microsoft.com/office/drawing/2014/chart" uri="{C3380CC4-5D6E-409C-BE32-E72D297353CC}">
              <c16:uniqueId val="{00000000-D603-4ECC-882B-9C1DDA58993E}"/>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max val="130000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0"/>
              <c:y val="0.26670357354180491"/>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r>
              <a:rPr lang="en-US" b="1"/>
              <a:t>Developing Markets </a:t>
            </a:r>
            <a:br>
              <a:rPr lang="en-US" b="1"/>
            </a:br>
            <a:r>
              <a:rPr lang="en-US" b="1"/>
              <a:t>Annual Sales</a:t>
            </a:r>
          </a:p>
        </c:rich>
      </c:tx>
      <c:layout>
        <c:manualLayout>
          <c:xMode val="edge"/>
          <c:yMode val="edge"/>
          <c:x val="0.25381086457135443"/>
          <c:y val="1.1500125231616186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9133238266476535"/>
          <c:y val="0.13024851866323592"/>
          <c:w val="0.80830414160828323"/>
          <c:h val="0.67306531936870018"/>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7"/>
            <c:invertIfNegative val="0"/>
            <c:bubble3D val="0"/>
            <c:spPr>
              <a:solidFill>
                <a:schemeClr val="tx2"/>
              </a:solidFill>
              <a:ln>
                <a:noFill/>
              </a:ln>
              <a:effectLst/>
            </c:spPr>
            <c:extLst>
              <c:ext xmlns:c16="http://schemas.microsoft.com/office/drawing/2014/chart" uri="{C3380CC4-5D6E-409C-BE32-E72D297353CC}">
                <c16:uniqueId val="{00000012-2BE8-4551-B4F3-74C8864F46F1}"/>
              </c:ext>
            </c:extLst>
          </c:dPt>
          <c:dPt>
            <c:idx val="8"/>
            <c:invertIfNegative val="0"/>
            <c:bubble3D val="0"/>
            <c:spPr>
              <a:solidFill>
                <a:schemeClr val="tx2"/>
              </a:solidFill>
              <a:ln>
                <a:noFill/>
              </a:ln>
              <a:effectLst/>
            </c:spPr>
            <c:extLst>
              <c:ext xmlns:c16="http://schemas.microsoft.com/office/drawing/2014/chart" uri="{C3380CC4-5D6E-409C-BE32-E72D297353CC}">
                <c16:uniqueId val="{00000011-2BE8-4551-B4F3-74C8864F46F1}"/>
              </c:ext>
            </c:extLst>
          </c:dPt>
          <c:dPt>
            <c:idx val="9"/>
            <c:invertIfNegative val="0"/>
            <c:bubble3D val="0"/>
            <c:spPr>
              <a:solidFill>
                <a:schemeClr val="tx2"/>
              </a:solidFill>
              <a:ln>
                <a:noFill/>
              </a:ln>
              <a:effectLst/>
            </c:spPr>
            <c:extLst>
              <c:ext xmlns:c16="http://schemas.microsoft.com/office/drawing/2014/chart" uri="{C3380CC4-5D6E-409C-BE32-E72D297353CC}">
                <c16:uniqueId val="{00000010-2BE8-4551-B4F3-74C8864F46F1}"/>
              </c:ext>
            </c:extLst>
          </c:dPt>
          <c:dPt>
            <c:idx val="10"/>
            <c:invertIfNegative val="0"/>
            <c:bubble3D val="0"/>
            <c:spPr>
              <a:solidFill>
                <a:schemeClr val="tx2"/>
              </a:solidFill>
              <a:ln>
                <a:noFill/>
              </a:ln>
              <a:effectLst/>
            </c:spPr>
            <c:extLst>
              <c:ext xmlns:c16="http://schemas.microsoft.com/office/drawing/2014/chart" uri="{C3380CC4-5D6E-409C-BE32-E72D297353CC}">
                <c16:uniqueId val="{0000000F-2BE8-4551-B4F3-74C8864F46F1}"/>
              </c:ext>
            </c:extLst>
          </c:dPt>
          <c:dPt>
            <c:idx val="11"/>
            <c:invertIfNegative val="0"/>
            <c:bubble3D val="0"/>
            <c:spPr>
              <a:solidFill>
                <a:schemeClr val="tx2"/>
              </a:solidFill>
              <a:ln>
                <a:noFill/>
              </a:ln>
              <a:effectLst/>
            </c:spPr>
            <c:extLst>
              <c:ext xmlns:c16="http://schemas.microsoft.com/office/drawing/2014/chart" uri="{C3380CC4-5D6E-409C-BE32-E72D297353CC}">
                <c16:uniqueId val="{0000000E-2BE8-4551-B4F3-74C8864F46F1}"/>
              </c:ext>
            </c:extLst>
          </c:dPt>
          <c:dPt>
            <c:idx val="12"/>
            <c:invertIfNegative val="0"/>
            <c:bubble3D val="0"/>
            <c:spPr>
              <a:solidFill>
                <a:schemeClr val="tx2"/>
              </a:solidFill>
              <a:ln>
                <a:noFill/>
              </a:ln>
              <a:effectLst/>
            </c:spPr>
            <c:extLst>
              <c:ext xmlns:c16="http://schemas.microsoft.com/office/drawing/2014/chart" uri="{C3380CC4-5D6E-409C-BE32-E72D297353CC}">
                <c16:uniqueId val="{0000000D-2BE8-4551-B4F3-74C8864F46F1}"/>
              </c:ext>
            </c:extLst>
          </c:dPt>
          <c:cat>
            <c:strRef>
              <c:f>Sheet1!$A$2:$A$14</c:f>
              <c:strCache>
                <c:ptCount val="13"/>
                <c:pt idx="0">
                  <c:v>2015</c:v>
                </c:pt>
                <c:pt idx="1">
                  <c:v>2016</c:v>
                </c:pt>
                <c:pt idx="2">
                  <c:v>2017</c:v>
                </c:pt>
                <c:pt idx="3">
                  <c:v>2018</c:v>
                </c:pt>
                <c:pt idx="4">
                  <c:v>2019</c:v>
                </c:pt>
                <c:pt idx="5">
                  <c:v>2020</c:v>
                </c:pt>
                <c:pt idx="6">
                  <c:v>2021</c:v>
                </c:pt>
                <c:pt idx="7">
                  <c:v>2022f</c:v>
                </c:pt>
                <c:pt idx="8">
                  <c:v>2023f</c:v>
                </c:pt>
                <c:pt idx="9">
                  <c:v>2024f</c:v>
                </c:pt>
                <c:pt idx="10">
                  <c:v>2025f</c:v>
                </c:pt>
                <c:pt idx="11">
                  <c:v>2026f</c:v>
                </c:pt>
                <c:pt idx="12">
                  <c:v>2027f</c:v>
                </c:pt>
              </c:strCache>
            </c:strRef>
          </c:cat>
          <c:val>
            <c:numRef>
              <c:f>Sheet1!$B$2:$B$14</c:f>
              <c:numCache>
                <c:formatCode>General</c:formatCode>
                <c:ptCount val="13"/>
                <c:pt idx="0">
                  <c:v>27221</c:v>
                </c:pt>
                <c:pt idx="1">
                  <c:v>28639</c:v>
                </c:pt>
                <c:pt idx="2">
                  <c:v>34759</c:v>
                </c:pt>
                <c:pt idx="3">
                  <c:v>43790</c:v>
                </c:pt>
                <c:pt idx="4">
                  <c:v>54275</c:v>
                </c:pt>
                <c:pt idx="5">
                  <c:v>71800</c:v>
                </c:pt>
                <c:pt idx="6">
                  <c:v>163016</c:v>
                </c:pt>
                <c:pt idx="7">
                  <c:v>130000</c:v>
                </c:pt>
                <c:pt idx="8">
                  <c:v>128485.43441436272</c:v>
                </c:pt>
                <c:pt idx="9">
                  <c:v>155990.31135944536</c:v>
                </c:pt>
                <c:pt idx="10">
                  <c:v>173784.12617621728</c:v>
                </c:pt>
                <c:pt idx="11">
                  <c:v>193607.68144913836</c:v>
                </c:pt>
                <c:pt idx="12">
                  <c:v>215692.50967204155</c:v>
                </c:pt>
              </c:numCache>
            </c:numRef>
          </c:val>
          <c:extLst>
            <c:ext xmlns:c16="http://schemas.microsoft.com/office/drawing/2014/chart" uri="{C3380CC4-5D6E-409C-BE32-E72D297353CC}">
              <c16:uniqueId val="{0000000C-2BE8-4551-B4F3-74C8864F46F1}"/>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max val="22000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4.921259842519685E-3"/>
              <c:y val="0.29919131486380574"/>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r>
              <a:rPr lang="en-US" b="1"/>
              <a:t>Aerial Market</a:t>
            </a:r>
          </a:p>
        </c:rich>
      </c:tx>
      <c:layout>
        <c:manualLayout>
          <c:xMode val="edge"/>
          <c:yMode val="edge"/>
          <c:x val="0.33285310025676634"/>
          <c:y val="1.1389123297572681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8646913898152062"/>
          <c:y val="0.18774969756048565"/>
          <c:w val="0.81333114093683845"/>
          <c:h val="0.61035878792453147"/>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7"/>
            <c:invertIfNegative val="0"/>
            <c:bubble3D val="0"/>
            <c:spPr>
              <a:solidFill>
                <a:schemeClr val="tx2"/>
              </a:solidFill>
              <a:ln>
                <a:noFill/>
              </a:ln>
              <a:effectLst/>
            </c:spPr>
            <c:extLst>
              <c:ext xmlns:c16="http://schemas.microsoft.com/office/drawing/2014/chart" uri="{C3380CC4-5D6E-409C-BE32-E72D297353CC}">
                <c16:uniqueId val="{00000001-3F65-4DFC-9579-50634BA64570}"/>
              </c:ext>
            </c:extLst>
          </c:dPt>
          <c:dPt>
            <c:idx val="8"/>
            <c:invertIfNegative val="0"/>
            <c:bubble3D val="0"/>
            <c:spPr>
              <a:solidFill>
                <a:schemeClr val="tx2"/>
              </a:solidFill>
              <a:ln>
                <a:noFill/>
              </a:ln>
              <a:effectLst/>
            </c:spPr>
            <c:extLst>
              <c:ext xmlns:c16="http://schemas.microsoft.com/office/drawing/2014/chart" uri="{C3380CC4-5D6E-409C-BE32-E72D297353CC}">
                <c16:uniqueId val="{00000003-3F65-4DFC-9579-50634BA64570}"/>
              </c:ext>
            </c:extLst>
          </c:dPt>
          <c:dPt>
            <c:idx val="9"/>
            <c:invertIfNegative val="0"/>
            <c:bubble3D val="0"/>
            <c:spPr>
              <a:solidFill>
                <a:schemeClr val="tx2"/>
              </a:solidFill>
              <a:ln>
                <a:noFill/>
              </a:ln>
              <a:effectLst/>
            </c:spPr>
            <c:extLst>
              <c:ext xmlns:c16="http://schemas.microsoft.com/office/drawing/2014/chart" uri="{C3380CC4-5D6E-409C-BE32-E72D297353CC}">
                <c16:uniqueId val="{00000005-3F65-4DFC-9579-50634BA64570}"/>
              </c:ext>
            </c:extLst>
          </c:dPt>
          <c:dPt>
            <c:idx val="10"/>
            <c:invertIfNegative val="0"/>
            <c:bubble3D val="0"/>
            <c:spPr>
              <a:solidFill>
                <a:schemeClr val="tx2"/>
              </a:solidFill>
              <a:ln>
                <a:noFill/>
              </a:ln>
              <a:effectLst/>
            </c:spPr>
            <c:extLst>
              <c:ext xmlns:c16="http://schemas.microsoft.com/office/drawing/2014/chart" uri="{C3380CC4-5D6E-409C-BE32-E72D297353CC}">
                <c16:uniqueId val="{00000007-3F65-4DFC-9579-50634BA64570}"/>
              </c:ext>
            </c:extLst>
          </c:dPt>
          <c:dPt>
            <c:idx val="11"/>
            <c:invertIfNegative val="0"/>
            <c:bubble3D val="0"/>
            <c:spPr>
              <a:solidFill>
                <a:schemeClr val="tx2"/>
              </a:solidFill>
              <a:ln>
                <a:noFill/>
              </a:ln>
              <a:effectLst/>
            </c:spPr>
            <c:extLst>
              <c:ext xmlns:c16="http://schemas.microsoft.com/office/drawing/2014/chart" uri="{C3380CC4-5D6E-409C-BE32-E72D297353CC}">
                <c16:uniqueId val="{00000009-3F65-4DFC-9579-50634BA64570}"/>
              </c:ext>
            </c:extLst>
          </c:dPt>
          <c:dPt>
            <c:idx val="12"/>
            <c:invertIfNegative val="0"/>
            <c:bubble3D val="0"/>
            <c:spPr>
              <a:solidFill>
                <a:schemeClr val="tx2"/>
              </a:solidFill>
              <a:ln>
                <a:noFill/>
              </a:ln>
              <a:effectLst/>
            </c:spPr>
            <c:extLst>
              <c:ext xmlns:c16="http://schemas.microsoft.com/office/drawing/2014/chart" uri="{C3380CC4-5D6E-409C-BE32-E72D297353CC}">
                <c16:uniqueId val="{0000000B-3F65-4DFC-9579-50634BA64570}"/>
              </c:ext>
            </c:extLst>
          </c:dPt>
          <c:cat>
            <c:strRef>
              <c:f>Sheet1!$A$2:$A$14</c:f>
              <c:strCache>
                <c:ptCount val="13"/>
                <c:pt idx="0">
                  <c:v>2015</c:v>
                </c:pt>
                <c:pt idx="1">
                  <c:v>2016</c:v>
                </c:pt>
                <c:pt idx="2">
                  <c:v>2017</c:v>
                </c:pt>
                <c:pt idx="3">
                  <c:v>2018</c:v>
                </c:pt>
                <c:pt idx="4">
                  <c:v>2019</c:v>
                </c:pt>
                <c:pt idx="5">
                  <c:v>2020</c:v>
                </c:pt>
                <c:pt idx="6">
                  <c:v>2021</c:v>
                </c:pt>
                <c:pt idx="7">
                  <c:v>2022f</c:v>
                </c:pt>
                <c:pt idx="8">
                  <c:v>2023f</c:v>
                </c:pt>
                <c:pt idx="9">
                  <c:v>2024f</c:v>
                </c:pt>
                <c:pt idx="10">
                  <c:v>2025f</c:v>
                </c:pt>
                <c:pt idx="11">
                  <c:v>2026f</c:v>
                </c:pt>
                <c:pt idx="12">
                  <c:v>2027f</c:v>
                </c:pt>
              </c:strCache>
            </c:strRef>
          </c:cat>
          <c:val>
            <c:numRef>
              <c:f>Sheet1!$B$2:$B$14</c:f>
              <c:numCache>
                <c:formatCode>General</c:formatCode>
                <c:ptCount val="13"/>
                <c:pt idx="0">
                  <c:v>220980</c:v>
                </c:pt>
                <c:pt idx="1">
                  <c:v>228053</c:v>
                </c:pt>
                <c:pt idx="2">
                  <c:v>256033</c:v>
                </c:pt>
                <c:pt idx="3">
                  <c:v>299889</c:v>
                </c:pt>
                <c:pt idx="4">
                  <c:v>299861</c:v>
                </c:pt>
                <c:pt idx="5">
                  <c:v>219140</c:v>
                </c:pt>
                <c:pt idx="6">
                  <c:v>382841</c:v>
                </c:pt>
                <c:pt idx="7">
                  <c:v>405811.46</c:v>
                </c:pt>
                <c:pt idx="8">
                  <c:v>430160.14760000003</c:v>
                </c:pt>
                <c:pt idx="9">
                  <c:v>455969.75645600003</c:v>
                </c:pt>
                <c:pt idx="10">
                  <c:v>483327.94184336008</c:v>
                </c:pt>
                <c:pt idx="11">
                  <c:v>512327.61835396173</c:v>
                </c:pt>
                <c:pt idx="12">
                  <c:v>543067.27545519941</c:v>
                </c:pt>
              </c:numCache>
            </c:numRef>
          </c:val>
          <c:extLst>
            <c:ext xmlns:c16="http://schemas.microsoft.com/office/drawing/2014/chart" uri="{C3380CC4-5D6E-409C-BE32-E72D297353CC}">
              <c16:uniqueId val="{0000000C-3F65-4DFC-9579-50634BA64570}"/>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4.4109052593859716E-3"/>
              <c:y val="0.3268916033464293"/>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66703466174155"/>
          <c:y val="1.138584569041258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1132738215092736"/>
          <c:y val="0.18089284753725055"/>
          <c:w val="0.8886726178490727"/>
          <c:h val="0.57356641025479749"/>
        </c:manualLayout>
      </c:layout>
      <c:lineChart>
        <c:grouping val="standard"/>
        <c:varyColors val="0"/>
        <c:ser>
          <c:idx val="0"/>
          <c:order val="0"/>
          <c:tx>
            <c:strRef>
              <c:f>Sheet1!$B$1</c:f>
              <c:strCache>
                <c:ptCount val="1"/>
                <c:pt idx="0">
                  <c:v>Fleet Age</c:v>
                </c:pt>
              </c:strCache>
            </c:strRef>
          </c:tx>
          <c:spPr>
            <a:ln w="28575" cap="rnd">
              <a:solidFill>
                <a:schemeClr val="accent5"/>
              </a:solidFill>
              <a:round/>
            </a:ln>
            <a:effectLst/>
          </c:spPr>
          <c:marker>
            <c:symbol val="none"/>
          </c:marker>
          <c:cat>
            <c:strRef>
              <c:f>Sheet1!$A$2:$A$9</c:f>
              <c:strCache>
                <c:ptCount val="8"/>
                <c:pt idx="0">
                  <c:v>2015</c:v>
                </c:pt>
                <c:pt idx="1">
                  <c:v>2016</c:v>
                </c:pt>
                <c:pt idx="2">
                  <c:v>2017</c:v>
                </c:pt>
                <c:pt idx="3">
                  <c:v>2018</c:v>
                </c:pt>
                <c:pt idx="4">
                  <c:v>2019</c:v>
                </c:pt>
                <c:pt idx="5">
                  <c:v>2020</c:v>
                </c:pt>
                <c:pt idx="6">
                  <c:v>2021</c:v>
                </c:pt>
                <c:pt idx="7">
                  <c:v>2022f</c:v>
                </c:pt>
              </c:strCache>
            </c:strRef>
          </c:cat>
          <c:val>
            <c:numRef>
              <c:f>Sheet1!$B$2:$B$9</c:f>
              <c:numCache>
                <c:formatCode>General</c:formatCode>
                <c:ptCount val="8"/>
                <c:pt idx="0">
                  <c:v>53.234040391856638</c:v>
                </c:pt>
                <c:pt idx="1">
                  <c:v>50.674814494306041</c:v>
                </c:pt>
                <c:pt idx="2">
                  <c:v>46.746564799590828</c:v>
                </c:pt>
                <c:pt idx="3">
                  <c:v>45.861419259871951</c:v>
                </c:pt>
                <c:pt idx="4">
                  <c:v>46.016140353249355</c:v>
                </c:pt>
                <c:pt idx="5">
                  <c:v>49.879205480185277</c:v>
                </c:pt>
                <c:pt idx="6">
                  <c:v>54.452894009078015</c:v>
                </c:pt>
                <c:pt idx="7">
                  <c:v>56.787806504444781</c:v>
                </c:pt>
              </c:numCache>
            </c:numRef>
          </c:val>
          <c:smooth val="0"/>
          <c:extLst>
            <c:ext xmlns:c16="http://schemas.microsoft.com/office/drawing/2014/chart" uri="{C3380CC4-5D6E-409C-BE32-E72D297353CC}">
              <c16:uniqueId val="{00000000-09A3-495A-9EC1-49503E7DE1D1}"/>
            </c:ext>
          </c:extLst>
        </c:ser>
        <c:dLbls>
          <c:showLegendKey val="0"/>
          <c:showVal val="0"/>
          <c:showCatName val="0"/>
          <c:showSerName val="0"/>
          <c:showPercent val="0"/>
          <c:showBubbleSize val="0"/>
        </c:dLbls>
        <c:smooth val="0"/>
        <c:axId val="705939951"/>
        <c:axId val="705934127"/>
      </c:lineChart>
      <c:catAx>
        <c:axId val="705939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705934127"/>
        <c:crosses val="autoZero"/>
        <c:auto val="1"/>
        <c:lblAlgn val="ctr"/>
        <c:lblOffset val="100"/>
        <c:noMultiLvlLbl val="0"/>
      </c:catAx>
      <c:valAx>
        <c:axId val="705934127"/>
        <c:scaling>
          <c:orientation val="minMax"/>
          <c:max val="65"/>
          <c:min val="35"/>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705939951"/>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2</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7856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4</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857136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600"/>
              </a:spcAft>
              <a:buClrTx/>
              <a:buSzTx/>
              <a:buFont typeface="Arial" charset="0"/>
              <a:buChar char="•"/>
              <a:tabLst/>
              <a:defRPr/>
            </a:pPr>
            <a:r>
              <a:rPr lang="en-150" b="1"/>
              <a:t>New Product Development Process: </a:t>
            </a:r>
            <a:r>
              <a:rPr lang="en-US"/>
              <a:t>Genie designers and engineers are focused on creating equipment that’s easy to use, simple to maintain, reliable, robust enough to handle even the toughest jobsite needs</a:t>
            </a:r>
            <a:r>
              <a:rPr lang="en-150"/>
              <a:t>.</a:t>
            </a:r>
          </a:p>
          <a:p>
            <a:pPr marL="285750" indent="-285750">
              <a:spcAft>
                <a:spcPts val="600"/>
              </a:spcAft>
              <a:buFont typeface="Arial" charset="0"/>
              <a:buChar char="•"/>
            </a:pPr>
            <a:r>
              <a:rPr lang="en-150" b="1"/>
              <a:t>Product Quality</a:t>
            </a:r>
            <a:r>
              <a:rPr lang="en-150"/>
              <a:t>: D</a:t>
            </a:r>
            <a:r>
              <a:rPr lang="en-US" err="1"/>
              <a:t>elivering</a:t>
            </a:r>
            <a:r>
              <a:rPr lang="en-US"/>
              <a:t> high quality, well-designed solutions for superior jobsite productivity</a:t>
            </a:r>
            <a:r>
              <a:rPr lang="en-150"/>
              <a:t>.</a:t>
            </a:r>
          </a:p>
          <a:p>
            <a:pPr marL="285750" indent="-285750">
              <a:spcAft>
                <a:spcPts val="600"/>
              </a:spcAft>
              <a:buFont typeface="Arial" charset="0"/>
              <a:buChar char="•"/>
            </a:pPr>
            <a:r>
              <a:rPr lang="en-150" b="1"/>
              <a:t>Manufacturing Quality</a:t>
            </a:r>
            <a:r>
              <a:rPr lang="en-150"/>
              <a:t>: M</a:t>
            </a:r>
            <a:r>
              <a:rPr lang="en-US" err="1"/>
              <a:t>anufacturing</a:t>
            </a:r>
            <a:r>
              <a:rPr lang="en-US"/>
              <a:t> products that are cost-effective and make business sense to own and operate</a:t>
            </a:r>
            <a:r>
              <a:rPr lang="en-150"/>
              <a:t>. </a:t>
            </a:r>
            <a:endParaRPr lang="en-US"/>
          </a:p>
          <a:p>
            <a:pPr marL="285750" indent="-285750">
              <a:spcAft>
                <a:spcPts val="600"/>
              </a:spcAft>
              <a:buFont typeface="Arial" charset="0"/>
              <a:buChar char="•"/>
            </a:pPr>
            <a:r>
              <a:rPr lang="en-150" b="1"/>
              <a:t>Service Quality, Sales and Support: </a:t>
            </a:r>
            <a:r>
              <a:rPr lang="en-150"/>
              <a:t>W</a:t>
            </a:r>
            <a:r>
              <a:rPr lang="en-US"/>
              <a:t>e know that when issues do arise, our customers and equipment operators rely on our quality care to resolve the problem quickly, the first time. </a:t>
            </a:r>
            <a:endParaRPr lang="en-150"/>
          </a:p>
          <a:p>
            <a:pPr marL="285750" indent="-285750">
              <a:spcAft>
                <a:spcPts val="600"/>
              </a:spcAft>
              <a:buFont typeface="Arial" charset="0"/>
              <a:buChar char="•"/>
            </a:pPr>
            <a:r>
              <a:rPr lang="en-150" b="1"/>
              <a:t>Internal Modern Process and Systems: </a:t>
            </a:r>
            <a:r>
              <a:rPr lang="en-150"/>
              <a:t>O</a:t>
            </a:r>
            <a:r>
              <a:rPr lang="en-US" err="1"/>
              <a:t>pportunities</a:t>
            </a:r>
            <a:r>
              <a:rPr lang="en-US"/>
              <a:t> to grow and develop </a:t>
            </a:r>
            <a:r>
              <a:rPr lang="en-150"/>
              <a:t>our Team members</a:t>
            </a:r>
            <a:r>
              <a:rPr lang="en-US"/>
              <a:t> that allow to be productive </a:t>
            </a:r>
            <a:r>
              <a:rPr lang="en-150"/>
              <a:t>and de</a:t>
            </a:r>
            <a:r>
              <a:rPr lang="en-US"/>
              <a:t>liver </a:t>
            </a:r>
            <a:r>
              <a:rPr lang="en-150"/>
              <a:t>upon </a:t>
            </a:r>
            <a:r>
              <a:rPr lang="en-US"/>
              <a:t>commitments.</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5</a:t>
            </a:fld>
            <a:endParaRPr lang="en-US"/>
          </a:p>
        </p:txBody>
      </p:sp>
    </p:spTree>
    <p:extLst>
      <p:ext uri="{BB962C8B-B14F-4D97-AF65-F5344CB8AC3E}">
        <p14:creationId xmlns:p14="http://schemas.microsoft.com/office/powerpoint/2010/main" val="4198498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r>
              <a:rPr lang="en-US"/>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D0C370D-1C4D-4B5A-8C57-94BF129F8FD7}" type="slidenum">
              <a:rPr lang="en-US" smtClean="0"/>
              <a:t>18</a:t>
            </a:fld>
            <a:endParaRPr lang="en-US"/>
          </a:p>
        </p:txBody>
      </p:sp>
    </p:spTree>
    <p:extLst>
      <p:ext uri="{BB962C8B-B14F-4D97-AF65-F5344CB8AC3E}">
        <p14:creationId xmlns:p14="http://schemas.microsoft.com/office/powerpoint/2010/main" val="766723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35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45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6408"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40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926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7</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E71D4B-DE26-4E85-8678-1ABB48BA24AA}" type="slidenum">
              <a:rPr lang="en-US" smtClean="0"/>
              <a:t>8</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9</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0</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1</a:t>
            </a:fld>
            <a:endParaRPr lang="en-US"/>
          </a:p>
        </p:txBody>
      </p:sp>
    </p:spTree>
    <p:extLst>
      <p:ext uri="{BB962C8B-B14F-4D97-AF65-F5344CB8AC3E}">
        <p14:creationId xmlns:p14="http://schemas.microsoft.com/office/powerpoint/2010/main" val="10326356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4569348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Base Slide - Execu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15" name="Group 14">
            <a:extLst>
              <a:ext uri="{FF2B5EF4-FFF2-40B4-BE49-F238E27FC236}">
                <a16:creationId xmlns:a16="http://schemas.microsoft.com/office/drawing/2014/main" id="{C5592A9E-0BF9-8848-8F64-81E72409F5DE}"/>
              </a:ext>
            </a:extLst>
          </p:cNvPr>
          <p:cNvGrpSpPr/>
          <p:nvPr userDrawn="1"/>
        </p:nvGrpSpPr>
        <p:grpSpPr>
          <a:xfrm>
            <a:off x="11288581" y="166057"/>
            <a:ext cx="717460" cy="663184"/>
            <a:chOff x="11112505" y="166057"/>
            <a:chExt cx="717460" cy="663184"/>
          </a:xfrm>
        </p:grpSpPr>
        <p:pic>
          <p:nvPicPr>
            <p:cNvPr id="18" name="Picture 17">
              <a:extLst>
                <a:ext uri="{FF2B5EF4-FFF2-40B4-BE49-F238E27FC236}">
                  <a16:creationId xmlns:a16="http://schemas.microsoft.com/office/drawing/2014/main" id="{C8E72C5B-0070-7340-A4C9-94E38873A07A}"/>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19" name="TextBox 18">
              <a:extLst>
                <a:ext uri="{FF2B5EF4-FFF2-40B4-BE49-F238E27FC236}">
                  <a16:creationId xmlns:a16="http://schemas.microsoft.com/office/drawing/2014/main" id="{F09B26D9-A0CE-9941-A4C0-15B2DBC26AA8}"/>
                </a:ext>
              </a:extLst>
            </p:cNvPr>
            <p:cNvSpPr txBox="1"/>
            <p:nvPr/>
          </p:nvSpPr>
          <p:spPr>
            <a:xfrm>
              <a:off x="11310125" y="166057"/>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E</a:t>
              </a:r>
            </a:p>
          </p:txBody>
        </p:sp>
        <p:sp>
          <p:nvSpPr>
            <p:cNvPr id="20" name="TextBox 19">
              <a:extLst>
                <a:ext uri="{FF2B5EF4-FFF2-40B4-BE49-F238E27FC236}">
                  <a16:creationId xmlns:a16="http://schemas.microsoft.com/office/drawing/2014/main" id="{249EFA03-5535-D547-9A27-DC802A3AF68D}"/>
                </a:ext>
              </a:extLst>
            </p:cNvPr>
            <p:cNvSpPr txBox="1"/>
            <p:nvPr/>
          </p:nvSpPr>
          <p:spPr>
            <a:xfrm>
              <a:off x="11523626" y="469612"/>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a:t>
              </a:r>
            </a:p>
          </p:txBody>
        </p:sp>
        <p:sp>
          <p:nvSpPr>
            <p:cNvPr id="21" name="TextBox 20">
              <a:extLst>
                <a:ext uri="{FF2B5EF4-FFF2-40B4-BE49-F238E27FC236}">
                  <a16:creationId xmlns:a16="http://schemas.microsoft.com/office/drawing/2014/main" id="{1C0E6683-E64C-5545-81EE-9817955F4A88}"/>
                </a:ext>
              </a:extLst>
            </p:cNvPr>
            <p:cNvSpPr txBox="1"/>
            <p:nvPr/>
          </p:nvSpPr>
          <p:spPr>
            <a:xfrm>
              <a:off x="11112505" y="473099"/>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G</a:t>
              </a:r>
            </a:p>
          </p:txBody>
        </p:sp>
        <p:sp>
          <p:nvSpPr>
            <p:cNvPr id="22" name="Block Arc 24">
              <a:extLst>
                <a:ext uri="{FF2B5EF4-FFF2-40B4-BE49-F238E27FC236}">
                  <a16:creationId xmlns:a16="http://schemas.microsoft.com/office/drawing/2014/main" id="{D865A57C-C085-E042-B58A-89D5D7870214}"/>
                </a:ext>
              </a:extLst>
            </p:cNvPr>
            <p:cNvSpPr/>
            <p:nvPr/>
          </p:nvSpPr>
          <p:spPr>
            <a:xfrm rot="9329860">
              <a:off x="11161720" y="295259"/>
              <a:ext cx="622185" cy="533982"/>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23" name="Graphic 22">
              <a:extLst>
                <a:ext uri="{FF2B5EF4-FFF2-40B4-BE49-F238E27FC236}">
                  <a16:creationId xmlns:a16="http://schemas.microsoft.com/office/drawing/2014/main" id="{2A7C8C64-8F69-E34A-AB13-EE8A480DB0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128" y="420874"/>
              <a:ext cx="150613" cy="180000"/>
            </a:xfrm>
            <a:prstGeom prst="rect">
              <a:avLst/>
            </a:prstGeom>
          </p:spPr>
        </p:pic>
      </p:grpSp>
    </p:spTree>
    <p:extLst>
      <p:ext uri="{BB962C8B-B14F-4D97-AF65-F5344CB8AC3E}">
        <p14:creationId xmlns:p14="http://schemas.microsoft.com/office/powerpoint/2010/main" val="25296110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fault Base Slide - Innova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54244"/>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31" name="Group 30">
            <a:extLst>
              <a:ext uri="{FF2B5EF4-FFF2-40B4-BE49-F238E27FC236}">
                <a16:creationId xmlns:a16="http://schemas.microsoft.com/office/drawing/2014/main" id="{A7FDE961-4DFD-4F4B-B884-A0CAFC1271D6}"/>
              </a:ext>
            </a:extLst>
          </p:cNvPr>
          <p:cNvGrpSpPr/>
          <p:nvPr userDrawn="1"/>
        </p:nvGrpSpPr>
        <p:grpSpPr>
          <a:xfrm>
            <a:off x="11290158" y="174039"/>
            <a:ext cx="717460" cy="659969"/>
            <a:chOff x="11112505" y="166057"/>
            <a:chExt cx="717460" cy="659969"/>
          </a:xfrm>
        </p:grpSpPr>
        <p:pic>
          <p:nvPicPr>
            <p:cNvPr id="32" name="Picture 31">
              <a:extLst>
                <a:ext uri="{FF2B5EF4-FFF2-40B4-BE49-F238E27FC236}">
                  <a16:creationId xmlns:a16="http://schemas.microsoft.com/office/drawing/2014/main" id="{CB0DB66D-A5F7-7E4C-933F-99E007C99D9E}"/>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33" name="TextBox 32">
              <a:extLst>
                <a:ext uri="{FF2B5EF4-FFF2-40B4-BE49-F238E27FC236}">
                  <a16:creationId xmlns:a16="http://schemas.microsoft.com/office/drawing/2014/main" id="{C646A20E-55AA-8F45-BC24-A120FE4B06EC}"/>
                </a:ext>
              </a:extLst>
            </p:cNvPr>
            <p:cNvSpPr txBox="1"/>
            <p:nvPr/>
          </p:nvSpPr>
          <p:spPr>
            <a:xfrm>
              <a:off x="11310125" y="166057"/>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E</a:t>
              </a:r>
            </a:p>
          </p:txBody>
        </p:sp>
        <p:sp>
          <p:nvSpPr>
            <p:cNvPr id="34" name="TextBox 33">
              <a:extLst>
                <a:ext uri="{FF2B5EF4-FFF2-40B4-BE49-F238E27FC236}">
                  <a16:creationId xmlns:a16="http://schemas.microsoft.com/office/drawing/2014/main" id="{7B724F16-8EE9-BB40-9C04-390CDE40CCDD}"/>
                </a:ext>
              </a:extLst>
            </p:cNvPr>
            <p:cNvSpPr txBox="1"/>
            <p:nvPr/>
          </p:nvSpPr>
          <p:spPr>
            <a:xfrm>
              <a:off x="11523626" y="469612"/>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a:t>
              </a:r>
            </a:p>
          </p:txBody>
        </p:sp>
        <p:sp>
          <p:nvSpPr>
            <p:cNvPr id="35" name="TextBox 34">
              <a:extLst>
                <a:ext uri="{FF2B5EF4-FFF2-40B4-BE49-F238E27FC236}">
                  <a16:creationId xmlns:a16="http://schemas.microsoft.com/office/drawing/2014/main" id="{DD377415-A6C8-5541-A31D-192B751765A1}"/>
                </a:ext>
              </a:extLst>
            </p:cNvPr>
            <p:cNvSpPr txBox="1"/>
            <p:nvPr/>
          </p:nvSpPr>
          <p:spPr>
            <a:xfrm>
              <a:off x="11112505" y="473099"/>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G</a:t>
              </a:r>
            </a:p>
          </p:txBody>
        </p:sp>
        <p:sp>
          <p:nvSpPr>
            <p:cNvPr id="36" name="Block Arc 24">
              <a:extLst>
                <a:ext uri="{FF2B5EF4-FFF2-40B4-BE49-F238E27FC236}">
                  <a16:creationId xmlns:a16="http://schemas.microsoft.com/office/drawing/2014/main" id="{DAF1AABD-DD20-2747-AD43-5F7F05C7314C}"/>
                </a:ext>
              </a:extLst>
            </p:cNvPr>
            <p:cNvSpPr/>
            <p:nvPr/>
          </p:nvSpPr>
          <p:spPr>
            <a:xfrm rot="16500953">
              <a:off x="11087514" y="242502"/>
              <a:ext cx="632138" cy="534910"/>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37" name="Graphic 36">
              <a:extLst>
                <a:ext uri="{FF2B5EF4-FFF2-40B4-BE49-F238E27FC236}">
                  <a16:creationId xmlns:a16="http://schemas.microsoft.com/office/drawing/2014/main" id="{FC2776B3-0E50-C542-A947-860925F59F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246" y="417991"/>
              <a:ext cx="150613" cy="180000"/>
            </a:xfrm>
            <a:prstGeom prst="rect">
              <a:avLst/>
            </a:prstGeom>
          </p:spPr>
        </p:pic>
      </p:grpSp>
    </p:spTree>
    <p:extLst>
      <p:ext uri="{BB962C8B-B14F-4D97-AF65-F5344CB8AC3E}">
        <p14:creationId xmlns:p14="http://schemas.microsoft.com/office/powerpoint/2010/main" val="14206596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fault Base Slide - Grow">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54244"/>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26" name="Group 25">
            <a:extLst>
              <a:ext uri="{FF2B5EF4-FFF2-40B4-BE49-F238E27FC236}">
                <a16:creationId xmlns:a16="http://schemas.microsoft.com/office/drawing/2014/main" id="{B368784E-235E-7F43-8A4C-B35B2C2DC9E3}"/>
              </a:ext>
            </a:extLst>
          </p:cNvPr>
          <p:cNvGrpSpPr/>
          <p:nvPr userDrawn="1"/>
        </p:nvGrpSpPr>
        <p:grpSpPr>
          <a:xfrm>
            <a:off x="11290158" y="180205"/>
            <a:ext cx="717460" cy="648074"/>
            <a:chOff x="11112505" y="166057"/>
            <a:chExt cx="717460" cy="648074"/>
          </a:xfrm>
        </p:grpSpPr>
        <p:pic>
          <p:nvPicPr>
            <p:cNvPr id="27" name="Picture 26">
              <a:extLst>
                <a:ext uri="{FF2B5EF4-FFF2-40B4-BE49-F238E27FC236}">
                  <a16:creationId xmlns:a16="http://schemas.microsoft.com/office/drawing/2014/main" id="{82E92843-0819-DC42-B84D-3818473D1354}"/>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28" name="TextBox 27">
              <a:extLst>
                <a:ext uri="{FF2B5EF4-FFF2-40B4-BE49-F238E27FC236}">
                  <a16:creationId xmlns:a16="http://schemas.microsoft.com/office/drawing/2014/main" id="{313822E2-4B8E-324B-A6A9-89286AD15B8C}"/>
                </a:ext>
              </a:extLst>
            </p:cNvPr>
            <p:cNvSpPr txBox="1"/>
            <p:nvPr/>
          </p:nvSpPr>
          <p:spPr>
            <a:xfrm>
              <a:off x="11310125" y="166057"/>
              <a:ext cx="306339" cy="276999"/>
            </a:xfrm>
            <a:prstGeom prst="rect">
              <a:avLst/>
            </a:prstGeom>
            <a:noFill/>
          </p:spPr>
          <p:txBody>
            <a:bodyPr wrap="square" rtlCol="0">
              <a:spAutoFit/>
            </a:bodyPr>
            <a:lstStyle/>
            <a:p>
              <a:r>
                <a:rPr lang="en-US" sz="1200">
                  <a:solidFill>
                    <a:schemeClr val="bg1"/>
                  </a:solidFill>
                </a:rPr>
                <a:t>E</a:t>
              </a:r>
            </a:p>
          </p:txBody>
        </p:sp>
        <p:sp>
          <p:nvSpPr>
            <p:cNvPr id="29" name="TextBox 28">
              <a:extLst>
                <a:ext uri="{FF2B5EF4-FFF2-40B4-BE49-F238E27FC236}">
                  <a16:creationId xmlns:a16="http://schemas.microsoft.com/office/drawing/2014/main" id="{19BC7629-81A7-9947-BB3D-9645B89ED0A3}"/>
                </a:ext>
              </a:extLst>
            </p:cNvPr>
            <p:cNvSpPr txBox="1"/>
            <p:nvPr/>
          </p:nvSpPr>
          <p:spPr>
            <a:xfrm>
              <a:off x="11523626" y="469612"/>
              <a:ext cx="306339" cy="276999"/>
            </a:xfrm>
            <a:prstGeom prst="rect">
              <a:avLst/>
            </a:prstGeom>
            <a:noFill/>
          </p:spPr>
          <p:txBody>
            <a:bodyPr wrap="square" rtlCol="0">
              <a:spAutoFit/>
            </a:bodyPr>
            <a:lstStyle/>
            <a:p>
              <a:r>
                <a:rPr lang="en-US" sz="1200">
                  <a:solidFill>
                    <a:schemeClr val="bg1"/>
                  </a:solidFill>
                </a:rPr>
                <a:t>I</a:t>
              </a:r>
            </a:p>
          </p:txBody>
        </p:sp>
        <p:sp>
          <p:nvSpPr>
            <p:cNvPr id="30" name="TextBox 29">
              <a:extLst>
                <a:ext uri="{FF2B5EF4-FFF2-40B4-BE49-F238E27FC236}">
                  <a16:creationId xmlns:a16="http://schemas.microsoft.com/office/drawing/2014/main" id="{F5875D9C-31AD-204E-9C0A-9CE408EC0261}"/>
                </a:ext>
              </a:extLst>
            </p:cNvPr>
            <p:cNvSpPr txBox="1"/>
            <p:nvPr/>
          </p:nvSpPr>
          <p:spPr>
            <a:xfrm>
              <a:off x="11112505" y="473099"/>
              <a:ext cx="306339" cy="276999"/>
            </a:xfrm>
            <a:prstGeom prst="rect">
              <a:avLst/>
            </a:prstGeom>
            <a:noFill/>
          </p:spPr>
          <p:txBody>
            <a:bodyPr wrap="square" rtlCol="0">
              <a:spAutoFit/>
            </a:bodyPr>
            <a:lstStyle/>
            <a:p>
              <a:r>
                <a:rPr lang="en-US" sz="1200">
                  <a:solidFill>
                    <a:schemeClr val="bg1"/>
                  </a:solidFill>
                </a:rPr>
                <a:t>G</a:t>
              </a:r>
            </a:p>
          </p:txBody>
        </p:sp>
        <p:sp>
          <p:nvSpPr>
            <p:cNvPr id="38" name="Block Arc 24">
              <a:extLst>
                <a:ext uri="{FF2B5EF4-FFF2-40B4-BE49-F238E27FC236}">
                  <a16:creationId xmlns:a16="http://schemas.microsoft.com/office/drawing/2014/main" id="{1C862CB6-3545-1345-BE8D-BEEE27ED3FD7}"/>
                </a:ext>
              </a:extLst>
            </p:cNvPr>
            <p:cNvSpPr/>
            <p:nvPr/>
          </p:nvSpPr>
          <p:spPr>
            <a:xfrm rot="2084213">
              <a:off x="11170932" y="204725"/>
              <a:ext cx="622185" cy="533982"/>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9" name="Graphic 38">
              <a:extLst>
                <a:ext uri="{FF2B5EF4-FFF2-40B4-BE49-F238E27FC236}">
                  <a16:creationId xmlns:a16="http://schemas.microsoft.com/office/drawing/2014/main" id="{9ED902D5-E09F-6144-BB94-92B4DC8A3E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246" y="421927"/>
              <a:ext cx="150613" cy="180000"/>
            </a:xfrm>
            <a:prstGeom prst="rect">
              <a:avLst/>
            </a:prstGeom>
          </p:spPr>
        </p:pic>
      </p:grpSp>
    </p:spTree>
    <p:extLst>
      <p:ext uri="{BB962C8B-B14F-4D97-AF65-F5344CB8AC3E}">
        <p14:creationId xmlns:p14="http://schemas.microsoft.com/office/powerpoint/2010/main" val="586029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4685750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570808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5109715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3691903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2937834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774009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9664754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1028102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496254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2743215717"/>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41687043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3836560632"/>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476277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380852508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338038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6541778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40528084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1070114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2166743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05E003-7340-5201-2A73-F9670ABD905B}"/>
              </a:ext>
            </a:extLst>
          </p:cNvPr>
          <p:cNvPicPr>
            <a:picLocks noChangeAspect="1"/>
          </p:cNvPicPr>
          <p:nvPr userDrawn="1"/>
        </p:nvPicPr>
        <p:blipFill>
          <a:blip r:embed="rId2"/>
          <a:stretch>
            <a:fillRect/>
          </a:stretch>
        </p:blipFill>
        <p:spPr>
          <a:xfrm>
            <a:off x="0" y="0"/>
            <a:ext cx="12192000" cy="568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0267978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4797062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469717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331101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74126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148684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861285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602787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7889310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6122715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8007490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22380976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752014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084517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40344950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880975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8460159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theme" Target="../theme/theme2.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8" Type="http://schemas.openxmlformats.org/officeDocument/2006/relationships/slideLayout" Target="../slideLayouts/slideLayout64.xml"/><Relationship Id="rId3"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8027543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 id="2147483803" r:id="rId35"/>
    <p:sldLayoutId id="2147483804" r:id="rId36"/>
    <p:sldLayoutId id="2147483805" r:id="rId37"/>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8.jpeg"/><Relationship Id="rId7" Type="http://schemas.openxmlformats.org/officeDocument/2006/relationships/image" Target="../media/image90.jpe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89.jpeg"/><Relationship Id="rId5" Type="http://schemas.openxmlformats.org/officeDocument/2006/relationships/image" Target="../media/image75.svg"/><Relationship Id="rId4" Type="http://schemas.openxmlformats.org/officeDocument/2006/relationships/image" Target="../media/image74.png"/><Relationship Id="rId9" Type="http://schemas.openxmlformats.org/officeDocument/2006/relationships/image" Target="../media/image92.png"/></Relationships>
</file>

<file path=ppt/slides/_rels/slide1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74.png"/><Relationship Id="rId7" Type="http://schemas.openxmlformats.org/officeDocument/2006/relationships/image" Target="../media/image95.jpe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75.svg"/></Relationships>
</file>

<file path=ppt/slides/_rels/slide1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74.png"/><Relationship Id="rId7" Type="http://schemas.openxmlformats.org/officeDocument/2006/relationships/image" Target="../media/image99.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75.svg"/><Relationship Id="rId9" Type="http://schemas.openxmlformats.org/officeDocument/2006/relationships/image" Target="../media/image101.pn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5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slideLayout" Target="../slideLayouts/slideLayout1.xml"/><Relationship Id="rId7" Type="http://schemas.openxmlformats.org/officeDocument/2006/relationships/image" Target="../media/image103.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102.png"/><Relationship Id="rId4" Type="http://schemas.openxmlformats.org/officeDocument/2006/relationships/notesSlide" Target="../notesSlides/notesSlide12.xml"/><Relationship Id="rId9" Type="http://schemas.openxmlformats.org/officeDocument/2006/relationships/image" Target="../media/image105.svg"/></Relationships>
</file>

<file path=ppt/slides/_rels/slide1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3" Type="http://schemas.openxmlformats.org/officeDocument/2006/relationships/image" Target="../media/image117.svg"/><Relationship Id="rId18" Type="http://schemas.openxmlformats.org/officeDocument/2006/relationships/image" Target="../media/image122.png"/><Relationship Id="rId26" Type="http://schemas.openxmlformats.org/officeDocument/2006/relationships/image" Target="../media/image130.svg"/><Relationship Id="rId3" Type="http://schemas.openxmlformats.org/officeDocument/2006/relationships/image" Target="../media/image107.png"/><Relationship Id="rId21" Type="http://schemas.openxmlformats.org/officeDocument/2006/relationships/image" Target="../media/image125.png"/><Relationship Id="rId7" Type="http://schemas.openxmlformats.org/officeDocument/2006/relationships/image" Target="../media/image111.svg"/><Relationship Id="rId12" Type="http://schemas.openxmlformats.org/officeDocument/2006/relationships/image" Target="../media/image116.png"/><Relationship Id="rId17" Type="http://schemas.openxmlformats.org/officeDocument/2006/relationships/image" Target="../media/image121.svg"/><Relationship Id="rId25" Type="http://schemas.openxmlformats.org/officeDocument/2006/relationships/image" Target="../media/image129.png"/><Relationship Id="rId33" Type="http://schemas.openxmlformats.org/officeDocument/2006/relationships/image" Target="../media/image137.svg"/><Relationship Id="rId2" Type="http://schemas.openxmlformats.org/officeDocument/2006/relationships/notesSlide" Target="../notesSlides/notesSlide14.xml"/><Relationship Id="rId16" Type="http://schemas.openxmlformats.org/officeDocument/2006/relationships/image" Target="../media/image120.png"/><Relationship Id="rId20" Type="http://schemas.openxmlformats.org/officeDocument/2006/relationships/image" Target="../media/image124.png"/><Relationship Id="rId29" Type="http://schemas.openxmlformats.org/officeDocument/2006/relationships/image" Target="../media/image133.png"/><Relationship Id="rId1" Type="http://schemas.openxmlformats.org/officeDocument/2006/relationships/slideLayout" Target="../slideLayouts/slideLayout1.xml"/><Relationship Id="rId6" Type="http://schemas.openxmlformats.org/officeDocument/2006/relationships/image" Target="../media/image110.png"/><Relationship Id="rId11" Type="http://schemas.openxmlformats.org/officeDocument/2006/relationships/image" Target="../media/image115.svg"/><Relationship Id="rId24" Type="http://schemas.openxmlformats.org/officeDocument/2006/relationships/image" Target="../media/image128.svg"/><Relationship Id="rId32" Type="http://schemas.openxmlformats.org/officeDocument/2006/relationships/image" Target="../media/image136.svg"/><Relationship Id="rId5" Type="http://schemas.openxmlformats.org/officeDocument/2006/relationships/image" Target="../media/image109.png"/><Relationship Id="rId15" Type="http://schemas.openxmlformats.org/officeDocument/2006/relationships/image" Target="../media/image119.svg"/><Relationship Id="rId23" Type="http://schemas.openxmlformats.org/officeDocument/2006/relationships/image" Target="../media/image127.png"/><Relationship Id="rId28" Type="http://schemas.openxmlformats.org/officeDocument/2006/relationships/image" Target="../media/image132.svg"/><Relationship Id="rId10" Type="http://schemas.openxmlformats.org/officeDocument/2006/relationships/image" Target="../media/image114.png"/><Relationship Id="rId19" Type="http://schemas.openxmlformats.org/officeDocument/2006/relationships/image" Target="../media/image123.svg"/><Relationship Id="rId31" Type="http://schemas.openxmlformats.org/officeDocument/2006/relationships/image" Target="../media/image135.png"/><Relationship Id="rId4" Type="http://schemas.openxmlformats.org/officeDocument/2006/relationships/image" Target="../media/image108.png"/><Relationship Id="rId9" Type="http://schemas.openxmlformats.org/officeDocument/2006/relationships/image" Target="../media/image113.svg"/><Relationship Id="rId14" Type="http://schemas.openxmlformats.org/officeDocument/2006/relationships/image" Target="../media/image118.png"/><Relationship Id="rId22" Type="http://schemas.openxmlformats.org/officeDocument/2006/relationships/image" Target="../media/image126.svg"/><Relationship Id="rId27" Type="http://schemas.openxmlformats.org/officeDocument/2006/relationships/image" Target="../media/image131.png"/><Relationship Id="rId30" Type="http://schemas.openxmlformats.org/officeDocument/2006/relationships/image" Target="../media/image134.svg"/><Relationship Id="rId8" Type="http://schemas.openxmlformats.org/officeDocument/2006/relationships/image" Target="../media/image112.png"/></Relationships>
</file>

<file path=ppt/slides/_rels/slide1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75.svg"/><Relationship Id="rId4" Type="http://schemas.openxmlformats.org/officeDocument/2006/relationships/image" Target="../media/image74.png"/></Relationships>
</file>

<file path=ppt/slides/_rels/slide18.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142.svg"/><Relationship Id="rId5" Type="http://schemas.openxmlformats.org/officeDocument/2006/relationships/image" Target="../media/image141.png"/><Relationship Id="rId10" Type="http://schemas.openxmlformats.org/officeDocument/2006/relationships/image" Target="../media/image146.svg"/><Relationship Id="rId4" Type="http://schemas.openxmlformats.org/officeDocument/2006/relationships/image" Target="../media/image140.svg"/><Relationship Id="rId9" Type="http://schemas.openxmlformats.org/officeDocument/2006/relationships/image" Target="../media/image14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emf"/></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image" Target="../media/image52.png"/><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png"/><Relationship Id="rId1" Type="http://schemas.openxmlformats.org/officeDocument/2006/relationships/slideLayout" Target="../slideLayouts/slideLayout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svg"/></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82.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5.svg"/></Relationships>
</file>

<file path=ppt/slides/_rels/slide9.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image" Target="../media/image74.png"/><Relationship Id="rId7" Type="http://schemas.openxmlformats.org/officeDocument/2006/relationships/image" Target="../media/image85.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84.jpeg"/><Relationship Id="rId5" Type="http://schemas.openxmlformats.org/officeDocument/2006/relationships/image" Target="../media/image83.png"/><Relationship Id="rId4" Type="http://schemas.openxmlformats.org/officeDocument/2006/relationships/image" Target="../media/image75.svg"/><Relationship Id="rId9" Type="http://schemas.openxmlformats.org/officeDocument/2006/relationships/image" Target="../media/image8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31700A-1E16-4F53-6575-7832ED7E9B2C}"/>
              </a:ext>
            </a:extLst>
          </p:cNvPr>
          <p:cNvPicPr>
            <a:picLocks noChangeAspect="1"/>
          </p:cNvPicPr>
          <p:nvPr/>
        </p:nvPicPr>
        <p:blipFill>
          <a:blip r:embed="rId2"/>
          <a:stretch>
            <a:fillRect/>
          </a:stretch>
        </p:blipFill>
        <p:spPr>
          <a:xfrm>
            <a:off x="0" y="-1"/>
            <a:ext cx="12192000" cy="5684521"/>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282011" y="834612"/>
            <a:ext cx="4387641" cy="1913255"/>
          </a:xfrm>
        </p:spPr>
        <p:txBody>
          <a:bodyPr anchor="b"/>
          <a:lstStyle/>
          <a:p>
            <a:r>
              <a:rPr lang="it" b="1" i="0" u="none" baseline="0" dirty="0"/>
              <a:t>Presentazione di Genie</a:t>
            </a:r>
            <a:endParaRPr lang="en-US" dirty="0"/>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2" y="3003068"/>
            <a:ext cx="4648517" cy="967740"/>
          </a:xfrm>
        </p:spPr>
        <p:txBody>
          <a:bodyPr vert="horz" lIns="91440" tIns="45720" rIns="91440" bIns="45720" rtlCol="0" anchor="t">
            <a:normAutofit fontScale="85000" lnSpcReduction="10000"/>
          </a:bodyPr>
          <a:lstStyle/>
          <a:p>
            <a:r>
              <a:rPr lang="en-US" dirty="0"/>
              <a:t>[INSERT CUSTOMER NAME]</a:t>
            </a:r>
          </a:p>
          <a:p>
            <a:r>
              <a:rPr lang="en-US" dirty="0"/>
              <a:t>[DD/MM/YYYY]</a:t>
            </a:r>
            <a:endParaRPr lang="de-CH" dirty="0">
              <a:cs typeface="Arial"/>
            </a:endParaRPr>
          </a:p>
        </p:txBody>
      </p:sp>
    </p:spTree>
    <p:extLst>
      <p:ext uri="{BB962C8B-B14F-4D97-AF65-F5344CB8AC3E}">
        <p14:creationId xmlns:p14="http://schemas.microsoft.com/office/powerpoint/2010/main" val="32699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5420585" y="1069738"/>
            <a:ext cx="2779722" cy="157876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11491278" cy="640080"/>
          </a:xfrm>
        </p:spPr>
        <p:txBody>
          <a:bodyPr anchor="t">
            <a:normAutofit/>
          </a:bodyPr>
          <a:lstStyle/>
          <a:p>
            <a:r>
              <a:rPr lang="it" b="1" i="0" u="none" baseline="0" dirty="0"/>
              <a:t>Sollevatori Telescopici (ANSI)</a:t>
            </a:r>
            <a:endParaRPr lang="en-US"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452329"/>
            <a:ext cx="4613366" cy="1475288"/>
          </a:xfrm>
        </p:spPr>
        <p:txBody>
          <a:bodyPr/>
          <a:lstStyle/>
          <a:p>
            <a:pPr>
              <a:spcBef>
                <a:spcPts val="600"/>
              </a:spcBef>
              <a:spcAft>
                <a:spcPts val="0"/>
              </a:spcAft>
            </a:pPr>
            <a:r>
              <a:rPr lang="en-US" b="1" dirty="0" err="1"/>
              <a:t>Applicazioni</a:t>
            </a:r>
            <a:r>
              <a:rPr lang="en-US" b="1" dirty="0"/>
              <a:t>:</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it-IT" dirty="0"/>
              <a:t>Manutenzione e costruzioni all’aperto</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it-IT" dirty="0"/>
              <a:t>Lavori su strade e ponti</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it-IT" dirty="0"/>
              <a:t>Montaggio di strutture in acciaio e finiture esterne</a:t>
            </a:r>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4" y="748854"/>
            <a:ext cx="11481139" cy="452454"/>
          </a:xfrm>
        </p:spPr>
        <p:txBody>
          <a:bodyPr vert="horz" lIns="91440" tIns="45720" rIns="91440" bIns="45720" rtlCol="0" anchor="ctr">
            <a:noAutofit/>
          </a:bodyPr>
          <a:lstStyle/>
          <a:p>
            <a:pPr algn="l" rtl="0"/>
            <a:r>
              <a:rPr lang="it" b="1" i="0" u="none" baseline="0" dirty="0"/>
              <a:t>Design e prestazioni incredibili</a:t>
            </a:r>
          </a:p>
        </p:txBody>
      </p:sp>
      <p:pic>
        <p:nvPicPr>
          <p:cNvPr id="4100" name="Picture 4" descr="gth-1056_Top Photo">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5344300" y="2765221"/>
            <a:ext cx="2932291" cy="1346609"/>
          </a:xfrm>
          <a:prstGeom prst="roundRect">
            <a:avLst>
              <a:gd name="adj" fmla="val 5831"/>
            </a:avLst>
          </a:prstGeom>
          <a:noFill/>
          <a:extLst>
            <a:ext uri="{909E8E84-426E-40DD-AFC4-6F175D3DCCD1}">
              <a14:hiddenFill xmlns:a14="http://schemas.microsoft.com/office/drawing/2010/main">
                <a:solidFill>
                  <a:srgbClr val="FFFFFF"/>
                </a:solidFill>
              </a14:hiddenFill>
            </a:ext>
          </a:extLst>
        </p:spPr>
      </p:pic>
      <p:pic>
        <p:nvPicPr>
          <p:cNvPr id="4102" name="Picture 6" descr="Genie GTH-636 telehandler">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8983" b="11829"/>
          <a:stretch/>
        </p:blipFill>
        <p:spPr bwMode="auto">
          <a:xfrm>
            <a:off x="5344301" y="4178506"/>
            <a:ext cx="2932291" cy="1548000"/>
          </a:xfrm>
          <a:prstGeom prst="roundRect">
            <a:avLst>
              <a:gd name="adj" fmla="val 4727"/>
            </a:avLst>
          </a:prstGeom>
          <a:noFill/>
          <a:extLst>
            <a:ext uri="{909E8E84-426E-40DD-AFC4-6F175D3DCCD1}">
              <a14:hiddenFill xmlns:a14="http://schemas.microsoft.com/office/drawing/2010/main">
                <a:solidFill>
                  <a:srgbClr val="FFFFFF"/>
                </a:solidFill>
              </a14:hiddenFill>
            </a:ext>
          </a:extLst>
        </p:spPr>
      </p:pic>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Rounded Rectangle 2">
            <a:extLst>
              <a:ext uri="{FF2B5EF4-FFF2-40B4-BE49-F238E27FC236}">
                <a16:creationId xmlns:a16="http://schemas.microsoft.com/office/drawing/2014/main" id="{5E425DF0-B20B-42B1-76A2-23EE8632AC06}"/>
              </a:ext>
            </a:extLst>
          </p:cNvPr>
          <p:cNvSpPr/>
          <p:nvPr/>
        </p:nvSpPr>
        <p:spPr>
          <a:xfrm>
            <a:off x="448880" y="3346315"/>
            <a:ext cx="2256290" cy="236651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12BDF0B5-30B2-A0A2-0AFB-3D8F7803A1EE}"/>
              </a:ext>
            </a:extLst>
          </p:cNvPr>
          <p:cNvPicPr>
            <a:picLocks noChangeAspect="1"/>
          </p:cNvPicPr>
          <p:nvPr/>
        </p:nvPicPr>
        <p:blipFill rotWithShape="1">
          <a:blip r:embed="rId8"/>
          <a:srcRect l="1" r="2689"/>
          <a:stretch/>
        </p:blipFill>
        <p:spPr>
          <a:xfrm>
            <a:off x="485786" y="3422470"/>
            <a:ext cx="2160000" cy="2264985"/>
          </a:xfrm>
          <a:prstGeom prst="rect">
            <a:avLst/>
          </a:prstGeom>
        </p:spPr>
      </p:pic>
      <p:pic>
        <p:nvPicPr>
          <p:cNvPr id="8" name="Picture 7">
            <a:extLst>
              <a:ext uri="{FF2B5EF4-FFF2-40B4-BE49-F238E27FC236}">
                <a16:creationId xmlns:a16="http://schemas.microsoft.com/office/drawing/2014/main" id="{6B2BC157-72E3-1ED4-28AC-9860BF8719AF}"/>
              </a:ext>
            </a:extLst>
          </p:cNvPr>
          <p:cNvPicPr>
            <a:picLocks noChangeAspect="1"/>
          </p:cNvPicPr>
          <p:nvPr/>
        </p:nvPicPr>
        <p:blipFill>
          <a:blip r:embed="rId9"/>
          <a:stretch>
            <a:fillRect/>
          </a:stretch>
        </p:blipFill>
        <p:spPr>
          <a:xfrm>
            <a:off x="2938243" y="3373557"/>
            <a:ext cx="2172983" cy="2317113"/>
          </a:xfrm>
          <a:prstGeom prst="rect">
            <a:avLst/>
          </a:prstGeom>
        </p:spPr>
      </p:pic>
      <p:sp>
        <p:nvSpPr>
          <p:cNvPr id="10" name="Rounded Rectangle 9">
            <a:extLst>
              <a:ext uri="{FF2B5EF4-FFF2-40B4-BE49-F238E27FC236}">
                <a16:creationId xmlns:a16="http://schemas.microsoft.com/office/drawing/2014/main" id="{6BC33300-3A78-738C-A43C-86CCC6334C2D}"/>
              </a:ext>
            </a:extLst>
          </p:cNvPr>
          <p:cNvSpPr/>
          <p:nvPr/>
        </p:nvSpPr>
        <p:spPr>
          <a:xfrm>
            <a:off x="2851612" y="3346315"/>
            <a:ext cx="2256290" cy="236651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026CDAB7-BA18-18DB-0644-EF7189E6511D}"/>
              </a:ext>
            </a:extLst>
          </p:cNvPr>
          <p:cNvSpPr/>
          <p:nvPr/>
        </p:nvSpPr>
        <p:spPr>
          <a:xfrm>
            <a:off x="5341893" y="1450634"/>
            <a:ext cx="2932290" cy="1236894"/>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CD9019A1-1D90-2615-B93F-FC7D12EA9FCC}"/>
              </a:ext>
            </a:extLst>
          </p:cNvPr>
          <p:cNvSpPr/>
          <p:nvPr/>
        </p:nvSpPr>
        <p:spPr>
          <a:xfrm>
            <a:off x="8509665" y="1450634"/>
            <a:ext cx="3321678" cy="4284340"/>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n-GB" sz="2000" b="1" dirty="0" err="1">
                <a:solidFill>
                  <a:schemeClr val="bg2"/>
                </a:solidFill>
                <a:latin typeface="Arial Narrow" panose="020B0606020202030204" pitchFamily="34" charset="0"/>
                <a:ea typeface="ＭＳ Ｐゴシック" panose="020B0600070205080204" pitchFamily="34" charset="-128"/>
              </a:rPr>
              <a:t>Regole</a:t>
            </a:r>
            <a:r>
              <a:rPr lang="en-GB" sz="2000" b="1" dirty="0">
                <a:solidFill>
                  <a:schemeClr val="bg2"/>
                </a:solidFill>
                <a:latin typeface="Arial Narrow" panose="020B0606020202030204" pitchFamily="34" charset="0"/>
                <a:ea typeface="ＭＳ Ｐゴシック" panose="020B0600070205080204" pitchFamily="34" charset="-128"/>
              </a:rPr>
              <a:t> di </a:t>
            </a:r>
            <a:r>
              <a:rPr lang="en-GB" sz="2000" b="1" dirty="0" err="1">
                <a:solidFill>
                  <a:schemeClr val="bg2"/>
                </a:solidFill>
                <a:latin typeface="Arial Narrow" panose="020B0606020202030204" pitchFamily="34" charset="0"/>
                <a:ea typeface="ＭＳ Ｐゴシック" panose="020B0600070205080204" pitchFamily="34" charset="-128"/>
              </a:rPr>
              <a:t>Nomenclatura</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it-IT" sz="1200" dirty="0">
                <a:solidFill>
                  <a:schemeClr val="accent3">
                    <a:lumMod val="50000"/>
                  </a:schemeClr>
                </a:solidFill>
                <a:latin typeface="Arial Narrow" panose="020B0606020202030204" pitchFamily="34" charset="0"/>
                <a:ea typeface="ＭＳ Ｐゴシック" panose="020B0600070205080204" pitchFamily="34" charset="-128"/>
              </a:rPr>
              <a:t>Le tre lettere stanno per Genie Tele Handlers. Il primo numero è la capacità massima di sollevamento, seguito dall'altezza massima di sollevamento.</a:t>
            </a:r>
          </a:p>
          <a:p>
            <a:pPr>
              <a:spcBef>
                <a:spcPct val="65000"/>
              </a:spcBef>
              <a:buClr>
                <a:schemeClr val="bg2"/>
              </a:buClr>
              <a:buSzPct val="100000"/>
              <a:tabLst>
                <a:tab pos="114300" algn="l"/>
              </a:tabLst>
            </a:pPr>
            <a:r>
              <a:rPr lang="it" sz="1200" b="1" i="0" u="none" baseline="0" dirty="0">
                <a:solidFill>
                  <a:schemeClr val="accent3">
                    <a:lumMod val="50000"/>
                  </a:schemeClr>
                </a:solidFill>
                <a:latin typeface="Arial Narrow" panose="020B0606020202030204" pitchFamily="34" charset="0"/>
                <a:ea typeface="ＭＳ Ｐゴシック" panose="020B0600070205080204" pitchFamily="34" charset="-128"/>
              </a:rPr>
              <a:t>Esempio</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19200"/>
              </a:spcBef>
              <a:buClr>
                <a:schemeClr val="bg2"/>
              </a:buClr>
              <a:buSzPct val="100000"/>
              <a:tabLst>
                <a:tab pos="114300" algn="l"/>
              </a:tabLst>
            </a:pPr>
            <a:r>
              <a:rPr lang="it-IT" sz="1200" dirty="0">
                <a:solidFill>
                  <a:schemeClr val="accent3">
                    <a:lumMod val="50000"/>
                  </a:schemeClr>
                </a:solidFill>
                <a:latin typeface="Arial Narrow" panose="020B0606020202030204" pitchFamily="34" charset="0"/>
                <a:ea typeface="ＭＳ Ｐゴシック" panose="020B0600070205080204" pitchFamily="34" charset="-128"/>
              </a:rPr>
              <a:t>Anche conosciuti come movimentatori, movimentazione di materiali</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16" name="TextBox 15">
            <a:extLst>
              <a:ext uri="{FF2B5EF4-FFF2-40B4-BE49-F238E27FC236}">
                <a16:creationId xmlns:a16="http://schemas.microsoft.com/office/drawing/2014/main" id="{910B74CA-D207-6CED-128C-1EED3FE4B588}"/>
              </a:ext>
            </a:extLst>
          </p:cNvPr>
          <p:cNvSpPr txBox="1"/>
          <p:nvPr/>
        </p:nvSpPr>
        <p:spPr>
          <a:xfrm>
            <a:off x="8530351" y="3339373"/>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GTH</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5519</a:t>
            </a:r>
            <a:endParaRPr lang="en-US" sz="1600" spc="300" baseline="80000" dirty="0">
              <a:solidFill>
                <a:schemeClr val="bg2"/>
              </a:solidFill>
            </a:endParaRPr>
          </a:p>
        </p:txBody>
      </p:sp>
      <p:sp>
        <p:nvSpPr>
          <p:cNvPr id="17" name="Rounded Rectangle 16">
            <a:extLst>
              <a:ext uri="{FF2B5EF4-FFF2-40B4-BE49-F238E27FC236}">
                <a16:creationId xmlns:a16="http://schemas.microsoft.com/office/drawing/2014/main" id="{F682184D-286B-B260-DB52-CACB781095E6}"/>
              </a:ext>
            </a:extLst>
          </p:cNvPr>
          <p:cNvSpPr/>
          <p:nvPr/>
        </p:nvSpPr>
        <p:spPr>
          <a:xfrm>
            <a:off x="8644585" y="4013938"/>
            <a:ext cx="1266848" cy="59371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Capacità</a:t>
            </a:r>
            <a:r>
              <a:rPr lang="en-GB" sz="1200" dirty="0">
                <a:solidFill>
                  <a:schemeClr val="bg1"/>
                </a:solidFill>
                <a:latin typeface="Arial Narrow" panose="020B0606020202030204" pitchFamily="34" charset="0"/>
                <a:ea typeface="ＭＳ Ｐゴシック" panose="020B0600070205080204" pitchFamily="34" charset="-128"/>
              </a:rPr>
              <a:t> max </a:t>
            </a:r>
            <a:r>
              <a:rPr lang="en-GB" sz="1200" dirty="0" err="1">
                <a:solidFill>
                  <a:schemeClr val="bg1"/>
                </a:solidFill>
                <a:latin typeface="Arial Narrow" panose="020B0606020202030204" pitchFamily="34" charset="0"/>
                <a:ea typeface="ＭＳ Ｐゴシック" panose="020B0600070205080204" pitchFamily="34" charset="-128"/>
              </a:rPr>
              <a:t>sollevamento</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5,511 lb </a:t>
            </a:r>
            <a:r>
              <a:rPr lang="en-GB" sz="1200" dirty="0">
                <a:solidFill>
                  <a:schemeClr val="bg1"/>
                </a:solidFill>
                <a:latin typeface="Arial Narrow" panose="020B0606020202030204" pitchFamily="34" charset="0"/>
                <a:ea typeface="ＭＳ Ｐゴシック" panose="020B0600070205080204" pitchFamily="34" charset="-128"/>
              </a:rPr>
              <a:t>(2,500 kg)</a:t>
            </a:r>
            <a:endParaRPr lang="en-US" sz="1200" dirty="0">
              <a:solidFill>
                <a:schemeClr val="bg1"/>
              </a:solidFill>
            </a:endParaRPr>
          </a:p>
        </p:txBody>
      </p:sp>
      <p:grpSp>
        <p:nvGrpSpPr>
          <p:cNvPr id="18" name="Group 17">
            <a:extLst>
              <a:ext uri="{FF2B5EF4-FFF2-40B4-BE49-F238E27FC236}">
                <a16:creationId xmlns:a16="http://schemas.microsoft.com/office/drawing/2014/main" id="{157F89B8-5581-650F-E0C4-C61E58E72231}"/>
              </a:ext>
            </a:extLst>
          </p:cNvPr>
          <p:cNvGrpSpPr/>
          <p:nvPr/>
        </p:nvGrpSpPr>
        <p:grpSpPr>
          <a:xfrm flipV="1">
            <a:off x="8645330" y="3249494"/>
            <a:ext cx="576000" cy="170879"/>
            <a:chOff x="9521532" y="2168131"/>
            <a:chExt cx="576000" cy="170879"/>
          </a:xfrm>
        </p:grpSpPr>
        <p:cxnSp>
          <p:nvCxnSpPr>
            <p:cNvPr id="19" name="Straight Arrow Connector 18">
              <a:extLst>
                <a:ext uri="{FF2B5EF4-FFF2-40B4-BE49-F238E27FC236}">
                  <a16:creationId xmlns:a16="http://schemas.microsoft.com/office/drawing/2014/main" id="{F615BF9B-6325-8BB4-137E-0375BD180799}"/>
                </a:ext>
              </a:extLst>
            </p:cNvPr>
            <p:cNvCxnSpPr>
              <a:cxnSpLocks/>
            </p:cNvCxnSpPr>
            <p:nvPr/>
          </p:nvCxnSpPr>
          <p:spPr>
            <a:xfrm>
              <a:off x="980820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38482A8-3DE8-560E-B070-3AFF93EE281B}"/>
                </a:ext>
              </a:extLst>
            </p:cNvPr>
            <p:cNvCxnSpPr>
              <a:cxnSpLocks/>
            </p:cNvCxnSpPr>
            <p:nvPr/>
          </p:nvCxnSpPr>
          <p:spPr>
            <a:xfrm>
              <a:off x="9521532" y="2222131"/>
              <a:ext cx="57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245E9BD-F0DB-7759-C9C3-73A8A2720ABB}"/>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621C88D-CAF4-07ED-1F6E-01464ADD3A9A}"/>
                </a:ext>
              </a:extLst>
            </p:cNvPr>
            <p:cNvCxnSpPr>
              <a:cxnSpLocks/>
            </p:cNvCxnSpPr>
            <p:nvPr/>
          </p:nvCxnSpPr>
          <p:spPr>
            <a:xfrm>
              <a:off x="10092174"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3" name="Rounded Rectangle 22">
            <a:extLst>
              <a:ext uri="{FF2B5EF4-FFF2-40B4-BE49-F238E27FC236}">
                <a16:creationId xmlns:a16="http://schemas.microsoft.com/office/drawing/2014/main" id="{7D0B2266-3454-E4AA-ACC0-A48A7EC6AC9A}"/>
              </a:ext>
            </a:extLst>
          </p:cNvPr>
          <p:cNvSpPr/>
          <p:nvPr/>
        </p:nvSpPr>
        <p:spPr>
          <a:xfrm>
            <a:off x="8637315" y="2927616"/>
            <a:ext cx="2618151" cy="357757"/>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err="1">
                <a:solidFill>
                  <a:schemeClr val="bg1"/>
                </a:solidFill>
                <a:latin typeface="Arial Narrow" panose="020B0606020202030204" pitchFamily="34" charset="0"/>
                <a:ea typeface="ＭＳ Ｐゴシック" panose="020B0600070205080204" pitchFamily="34" charset="-128"/>
              </a:rPr>
              <a:t>Sollevatori</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Telescopici</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fuoristrada</a:t>
            </a:r>
            <a:r>
              <a:rPr lang="en-GB" sz="1200" b="1" dirty="0">
                <a:solidFill>
                  <a:schemeClr val="bg1"/>
                </a:solidFill>
                <a:latin typeface="Arial Narrow" panose="020B0606020202030204" pitchFamily="34" charset="0"/>
                <a:ea typeface="ＭＳ Ｐゴシック" panose="020B0600070205080204" pitchFamily="34" charset="-128"/>
              </a:rPr>
              <a:t> Genie®</a:t>
            </a:r>
          </a:p>
        </p:txBody>
      </p:sp>
      <p:grpSp>
        <p:nvGrpSpPr>
          <p:cNvPr id="26" name="Group 25">
            <a:extLst>
              <a:ext uri="{FF2B5EF4-FFF2-40B4-BE49-F238E27FC236}">
                <a16:creationId xmlns:a16="http://schemas.microsoft.com/office/drawing/2014/main" id="{7415035A-0B0A-45B8-A250-24A9B64AEF71}"/>
              </a:ext>
            </a:extLst>
          </p:cNvPr>
          <p:cNvGrpSpPr/>
          <p:nvPr/>
        </p:nvGrpSpPr>
        <p:grpSpPr>
          <a:xfrm>
            <a:off x="9518209" y="3774218"/>
            <a:ext cx="284576" cy="234000"/>
            <a:chOff x="9535283" y="2168131"/>
            <a:chExt cx="284576" cy="234000"/>
          </a:xfrm>
        </p:grpSpPr>
        <p:cxnSp>
          <p:nvCxnSpPr>
            <p:cNvPr id="27" name="Straight Arrow Connector 26">
              <a:extLst>
                <a:ext uri="{FF2B5EF4-FFF2-40B4-BE49-F238E27FC236}">
                  <a16:creationId xmlns:a16="http://schemas.microsoft.com/office/drawing/2014/main" id="{4EB3E54B-CC5A-26F3-D9BD-5A3FD7B9937B}"/>
                </a:ext>
              </a:extLst>
            </p:cNvPr>
            <p:cNvCxnSpPr>
              <a:cxnSpLocks/>
            </p:cNvCxnSpPr>
            <p:nvPr/>
          </p:nvCxnSpPr>
          <p:spPr>
            <a:xfrm>
              <a:off x="9677571" y="2222131"/>
              <a:ext cx="0" cy="180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A87695A-7819-DA6D-D84A-535311F02C63}"/>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67763F6-1B9F-C2CA-785C-6ABE6987965C}"/>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086ACB7-9D3D-DADA-B183-6B8FCD4A361B}"/>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101" name="Rounded Rectangle 4100">
            <a:extLst>
              <a:ext uri="{FF2B5EF4-FFF2-40B4-BE49-F238E27FC236}">
                <a16:creationId xmlns:a16="http://schemas.microsoft.com/office/drawing/2014/main" id="{93F66F3E-99E5-BD6A-75B7-A9E8558FD233}"/>
              </a:ext>
            </a:extLst>
          </p:cNvPr>
          <p:cNvSpPr/>
          <p:nvPr/>
        </p:nvSpPr>
        <p:spPr>
          <a:xfrm>
            <a:off x="10067748" y="4013937"/>
            <a:ext cx="973832" cy="593717"/>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ezza max </a:t>
            </a:r>
            <a:r>
              <a:rPr lang="en-GB" sz="1200" dirty="0" err="1">
                <a:solidFill>
                  <a:schemeClr val="bg1"/>
                </a:solidFill>
                <a:latin typeface="Arial Narrow" panose="020B0606020202030204" pitchFamily="34" charset="0"/>
                <a:ea typeface="ＭＳ Ｐゴシック" panose="020B0600070205080204" pitchFamily="34" charset="-128"/>
              </a:rPr>
              <a:t>sollevamento</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19 ft </a:t>
            </a:r>
            <a:r>
              <a:rPr lang="en-GB" sz="1200" dirty="0">
                <a:solidFill>
                  <a:schemeClr val="bg1"/>
                </a:solidFill>
                <a:latin typeface="Arial Narrow" panose="020B0606020202030204" pitchFamily="34" charset="0"/>
                <a:ea typeface="ＭＳ Ｐゴシック" panose="020B0600070205080204" pitchFamily="34" charset="-128"/>
              </a:rPr>
              <a:t>(5.79 m)</a:t>
            </a:r>
            <a:endParaRPr lang="en-US" sz="1200" dirty="0">
              <a:solidFill>
                <a:schemeClr val="bg1"/>
              </a:solidFill>
            </a:endParaRPr>
          </a:p>
        </p:txBody>
      </p:sp>
      <p:grpSp>
        <p:nvGrpSpPr>
          <p:cNvPr id="4103" name="Group 4102">
            <a:extLst>
              <a:ext uri="{FF2B5EF4-FFF2-40B4-BE49-F238E27FC236}">
                <a16:creationId xmlns:a16="http://schemas.microsoft.com/office/drawing/2014/main" id="{6BA2977F-D107-4F4F-D56C-CD9104A524F3}"/>
              </a:ext>
            </a:extLst>
          </p:cNvPr>
          <p:cNvGrpSpPr/>
          <p:nvPr/>
        </p:nvGrpSpPr>
        <p:grpSpPr>
          <a:xfrm>
            <a:off x="9958221" y="3774218"/>
            <a:ext cx="428955" cy="258252"/>
            <a:chOff x="9535283" y="2168131"/>
            <a:chExt cx="428955" cy="258252"/>
          </a:xfrm>
        </p:grpSpPr>
        <p:cxnSp>
          <p:nvCxnSpPr>
            <p:cNvPr id="4106" name="Straight Connector 4105">
              <a:extLst>
                <a:ext uri="{FF2B5EF4-FFF2-40B4-BE49-F238E27FC236}">
                  <a16:creationId xmlns:a16="http://schemas.microsoft.com/office/drawing/2014/main" id="{3CA7D5D1-D72D-8A63-5540-6A513EC6BD3C}"/>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9" name="Straight Connector 4108">
              <a:extLst>
                <a:ext uri="{FF2B5EF4-FFF2-40B4-BE49-F238E27FC236}">
                  <a16:creationId xmlns:a16="http://schemas.microsoft.com/office/drawing/2014/main" id="{8CDE2562-0C3D-3C3C-D23D-DABA018275CA}"/>
                </a:ext>
              </a:extLst>
            </p:cNvPr>
            <p:cNvCxnSpPr>
              <a:cxnSpLocks/>
            </p:cNvCxnSpPr>
            <p:nvPr/>
          </p:nvCxnSpPr>
          <p:spPr>
            <a:xfrm>
              <a:off x="9679662" y="2325259"/>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5" name="Straight Arrow Connector 4104">
              <a:extLst>
                <a:ext uri="{FF2B5EF4-FFF2-40B4-BE49-F238E27FC236}">
                  <a16:creationId xmlns:a16="http://schemas.microsoft.com/office/drawing/2014/main" id="{ECD49101-03F4-A129-79AC-B1899D0BEA87}"/>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107" name="Straight Connector 4106">
              <a:extLst>
                <a:ext uri="{FF2B5EF4-FFF2-40B4-BE49-F238E27FC236}">
                  <a16:creationId xmlns:a16="http://schemas.microsoft.com/office/drawing/2014/main" id="{D8E7C302-38D7-28FF-495D-8DA892C40F9D}"/>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8" name="Straight Connector 4107">
              <a:extLst>
                <a:ext uri="{FF2B5EF4-FFF2-40B4-BE49-F238E27FC236}">
                  <a16:creationId xmlns:a16="http://schemas.microsoft.com/office/drawing/2014/main" id="{92165FB5-01C7-915B-9EE1-F33B570EAE35}"/>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10" name="Straight Arrow Connector 4109">
              <a:extLst>
                <a:ext uri="{FF2B5EF4-FFF2-40B4-BE49-F238E27FC236}">
                  <a16:creationId xmlns:a16="http://schemas.microsoft.com/office/drawing/2014/main" id="{5FFA6E96-8984-495D-374B-5DB2A24BA701}"/>
                </a:ext>
              </a:extLst>
            </p:cNvPr>
            <p:cNvCxnSpPr>
              <a:cxnSpLocks/>
            </p:cNvCxnSpPr>
            <p:nvPr/>
          </p:nvCxnSpPr>
          <p:spPr>
            <a:xfrm>
              <a:off x="9959454" y="2318383"/>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sp>
        <p:nvSpPr>
          <p:cNvPr id="4111" name="TextBox 4110">
            <a:extLst>
              <a:ext uri="{FF2B5EF4-FFF2-40B4-BE49-F238E27FC236}">
                <a16:creationId xmlns:a16="http://schemas.microsoft.com/office/drawing/2014/main" id="{A331B6E8-66D3-2C95-C030-C909B6198A1D}"/>
              </a:ext>
            </a:extLst>
          </p:cNvPr>
          <p:cNvSpPr txBox="1"/>
          <p:nvPr/>
        </p:nvSpPr>
        <p:spPr>
          <a:xfrm>
            <a:off x="8530351" y="4570032"/>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GTH</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844</a:t>
            </a:r>
            <a:endParaRPr lang="en-US" sz="1600" spc="300" baseline="80000" dirty="0">
              <a:solidFill>
                <a:schemeClr val="bg2"/>
              </a:solidFill>
            </a:endParaRPr>
          </a:p>
        </p:txBody>
      </p:sp>
    </p:spTree>
    <p:extLst>
      <p:ext uri="{BB962C8B-B14F-4D97-AF65-F5344CB8AC3E}">
        <p14:creationId xmlns:p14="http://schemas.microsoft.com/office/powerpoint/2010/main" val="1956964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it" b="1" i="0" u="none" baseline="0" dirty="0"/>
              <a:t>Sollevatori di Materiali</a:t>
            </a:r>
            <a:endParaRPr lang="en-US" dirty="0"/>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2333179"/>
          </a:xfrm>
        </p:spPr>
        <p:txBody>
          <a:bodyPr/>
          <a:lstStyle/>
          <a:p>
            <a:pPr>
              <a:spcBef>
                <a:spcPts val="600"/>
              </a:spcBef>
              <a:spcAft>
                <a:spcPts val="300"/>
              </a:spcAft>
            </a:pPr>
            <a:r>
              <a:rPr lang="it" b="1" i="0" u="none" baseline="0" dirty="0"/>
              <a:t>Applicazioni</a:t>
            </a:r>
            <a:r>
              <a:rPr lang="en-US" b="1" dirty="0"/>
              <a:t>:</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Installazione di impianti idraulici e di aerazione</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Impianti di produzione e magazzin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Attrezzature per l'illuminazione e l'acustica (SuperTower™)</a:t>
            </a:r>
            <a:endParaRPr lang="it" dirty="0"/>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pPr algn="l" rtl="0"/>
            <a:r>
              <a:rPr lang="it" b="1" i="0" u="none" baseline="0" dirty="0"/>
              <a:t>Compatti, leggeri e facili da trasportare</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86" r="-186"/>
          <a:stretch/>
        </p:blipFill>
        <p:spPr>
          <a:xfrm>
            <a:off x="7404577" y="1540398"/>
            <a:ext cx="1908000" cy="1879202"/>
          </a:xfrm>
          <a:prstGeom prst="roundRect">
            <a:avLst>
              <a:gd name="adj" fmla="val 2927"/>
            </a:avLst>
          </a:prstGeom>
        </p:spPr>
      </p:pic>
      <p:pic>
        <p:nvPicPr>
          <p:cNvPr id="19" name="Picture 18" descr="A picture containing indoor&#10;&#10;Description automatically generated">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97528" y="3492595"/>
            <a:ext cx="1908000" cy="2220235"/>
          </a:xfrm>
          <a:prstGeom prst="roundRect">
            <a:avLst>
              <a:gd name="adj" fmla="val 3586"/>
            </a:avLst>
          </a:prstGeom>
        </p:spPr>
      </p:pic>
      <p:pic>
        <p:nvPicPr>
          <p:cNvPr id="22" name="Picture 21" descr="A picture containing person, person, sport, exercise device&#10;&#10;Description automatically generated">
            <a:extLst>
              <a:ext uri="{FF2B5EF4-FFF2-40B4-BE49-F238E27FC236}">
                <a16:creationId xmlns:a16="http://schemas.microsoft.com/office/drawing/2014/main" id="{42E02D24-5E5A-463F-938D-35AAEE22D5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45802" y="1464415"/>
            <a:ext cx="1603490" cy="2552739"/>
          </a:xfrm>
          <a:prstGeom prst="rect">
            <a:avLst/>
          </a:prstGeom>
        </p:spPr>
      </p:pic>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5E7FBE65-1AD1-4790-83D7-5D5762DB5B90}"/>
              </a:ext>
            </a:extLst>
          </p:cNvPr>
          <p:cNvGrpSpPr/>
          <p:nvPr/>
        </p:nvGrpSpPr>
        <p:grpSpPr>
          <a:xfrm>
            <a:off x="351600" y="4138460"/>
            <a:ext cx="6578589" cy="1528914"/>
            <a:chOff x="544535" y="4156468"/>
            <a:chExt cx="7025103" cy="1528914"/>
          </a:xfrm>
        </p:grpSpPr>
        <p:grpSp>
          <p:nvGrpSpPr>
            <p:cNvPr id="4" name="Group 3">
              <a:extLst>
                <a:ext uri="{FF2B5EF4-FFF2-40B4-BE49-F238E27FC236}">
                  <a16:creationId xmlns:a16="http://schemas.microsoft.com/office/drawing/2014/main" id="{C79491A8-9838-4498-8D9C-4E7A2683162B}"/>
                </a:ext>
              </a:extLst>
            </p:cNvPr>
            <p:cNvGrpSpPr/>
            <p:nvPr/>
          </p:nvGrpSpPr>
          <p:grpSpPr>
            <a:xfrm>
              <a:off x="544535" y="4156468"/>
              <a:ext cx="6362293" cy="1528914"/>
              <a:chOff x="699247" y="2627554"/>
              <a:chExt cx="6362293" cy="1528914"/>
            </a:xfrm>
          </p:grpSpPr>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rotWithShape="1">
              <a:blip r:embed="rId8"/>
              <a:srcRect l="18296" r="20212"/>
              <a:stretch/>
            </p:blipFill>
            <p:spPr>
              <a:xfrm>
                <a:off x="1862832" y="2627554"/>
                <a:ext cx="5198708" cy="1528914"/>
              </a:xfrm>
              <a:prstGeom prst="rect">
                <a:avLst/>
              </a:prstGeom>
              <a:ln>
                <a:noFill/>
              </a:ln>
            </p:spPr>
          </p:pic>
          <p:pic>
            <p:nvPicPr>
              <p:cNvPr id="13" name="Picture 12">
                <a:extLst>
                  <a:ext uri="{FF2B5EF4-FFF2-40B4-BE49-F238E27FC236}">
                    <a16:creationId xmlns:a16="http://schemas.microsoft.com/office/drawing/2014/main" id="{D0BBCF60-D907-4BE6-9EE6-82B9021772E8}"/>
                  </a:ext>
                </a:extLst>
              </p:cNvPr>
              <p:cNvPicPr>
                <a:picLocks noChangeAspect="1"/>
              </p:cNvPicPr>
              <p:nvPr/>
            </p:nvPicPr>
            <p:blipFill rotWithShape="1">
              <a:blip r:embed="rId8"/>
              <a:srcRect r="86237"/>
              <a:stretch/>
            </p:blipFill>
            <p:spPr>
              <a:xfrm>
                <a:off x="699247" y="2627554"/>
                <a:ext cx="1163584" cy="1528914"/>
              </a:xfrm>
              <a:prstGeom prst="rect">
                <a:avLst/>
              </a:prstGeom>
              <a:ln>
                <a:noFill/>
              </a:ln>
            </p:spPr>
          </p:pic>
        </p:grpSp>
        <p:pic>
          <p:nvPicPr>
            <p:cNvPr id="17" name="Picture 16">
              <a:extLst>
                <a:ext uri="{FF2B5EF4-FFF2-40B4-BE49-F238E27FC236}">
                  <a16:creationId xmlns:a16="http://schemas.microsoft.com/office/drawing/2014/main" id="{F25533E6-42BA-48B2-ABCD-A772E1F534D9}"/>
                </a:ext>
              </a:extLst>
            </p:cNvPr>
            <p:cNvPicPr>
              <a:picLocks noChangeAspect="1"/>
            </p:cNvPicPr>
            <p:nvPr/>
          </p:nvPicPr>
          <p:blipFill rotWithShape="1">
            <a:blip r:embed="rId8"/>
            <a:srcRect l="92161"/>
            <a:stretch/>
          </p:blipFill>
          <p:spPr>
            <a:xfrm>
              <a:off x="6906828" y="4156468"/>
              <a:ext cx="662810" cy="1528914"/>
            </a:xfrm>
            <a:prstGeom prst="rect">
              <a:avLst/>
            </a:prstGeom>
            <a:ln>
              <a:noFill/>
            </a:ln>
          </p:spPr>
        </p:pic>
      </p:grpSp>
      <p:sp>
        <p:nvSpPr>
          <p:cNvPr id="6" name="Rounded Rectangle 5">
            <a:extLst>
              <a:ext uri="{FF2B5EF4-FFF2-40B4-BE49-F238E27FC236}">
                <a16:creationId xmlns:a16="http://schemas.microsoft.com/office/drawing/2014/main" id="{F0997174-8612-42E3-FE6D-97981D380F64}"/>
              </a:ext>
            </a:extLst>
          </p:cNvPr>
          <p:cNvSpPr/>
          <p:nvPr/>
        </p:nvSpPr>
        <p:spPr>
          <a:xfrm>
            <a:off x="448880" y="4090149"/>
            <a:ext cx="6570687" cy="1622681"/>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10D08A02-39F4-1866-5C3C-B78043D62089}"/>
              </a:ext>
            </a:extLst>
          </p:cNvPr>
          <p:cNvSpPr/>
          <p:nvPr/>
        </p:nvSpPr>
        <p:spPr>
          <a:xfrm>
            <a:off x="9439979" y="1540397"/>
            <a:ext cx="2303141" cy="4194577"/>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Prodotti in Redmond (WA), Stati Uniti</a:t>
            </a:r>
          </a:p>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Applicazioni: sistemi di tubazioni, fabbriche, stoccaggio, installazione di impianti di aerazione</a:t>
            </a:r>
          </a:p>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Capacità di passare attraverso porte standard</a:t>
            </a:r>
          </a:p>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Soluzione compatta che può essere caricata su un camion da una sola persona</a:t>
            </a:r>
          </a:p>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Solleva carichi da 91 kg a 454 kg fino ad altezze di 7.9 m</a:t>
            </a:r>
          </a:p>
        </p:txBody>
      </p:sp>
    </p:spTree>
    <p:extLst>
      <p:ext uri="{BB962C8B-B14F-4D97-AF65-F5344CB8AC3E}">
        <p14:creationId xmlns:p14="http://schemas.microsoft.com/office/powerpoint/2010/main" val="4239264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it" b="1" i="0" u="none" baseline="0" dirty="0"/>
              <a:t>Sollevatori di persone </a:t>
            </a:r>
            <a:endParaRPr lang="en-US" dirty="0"/>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863507" cy="2442221"/>
          </a:xfrm>
        </p:spPr>
        <p:txBody>
          <a:bodyPr/>
          <a:lstStyle/>
          <a:p>
            <a:pPr>
              <a:spcBef>
                <a:spcPts val="600"/>
              </a:spcBef>
              <a:spcAft>
                <a:spcPts val="300"/>
              </a:spcAft>
            </a:pPr>
            <a:r>
              <a:rPr lang="it" b="1" i="0" u="none" baseline="0" dirty="0"/>
              <a:t>Applicazioni</a:t>
            </a:r>
            <a:r>
              <a:rPr lang="en-US" b="1" dirty="0"/>
              <a:t>:</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Costruzioni, impianti industriali e magazzin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Manutenzione delle antenne, pulizia, apposizione di cartelli, ecc.</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pPr algn="l" rtl="0"/>
            <a:r>
              <a:rPr lang="it" b="1" i="0" u="none" baseline="0" dirty="0"/>
              <a:t>Convenienti e ad alto rendimento</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775835" y="3478846"/>
            <a:ext cx="1532362" cy="2248697"/>
          </a:xfrm>
          <a:prstGeom prst="roundRect">
            <a:avLst>
              <a:gd name="adj" fmla="val 3615"/>
            </a:avLst>
          </a:prstGeom>
        </p:spPr>
      </p:pic>
      <p:pic>
        <p:nvPicPr>
          <p:cNvPr id="17" name="Picture 16" descr="A picture containing text, indoor, cart&#10;&#10;Description automatically generated">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tretch/>
        </p:blipFill>
        <p:spPr>
          <a:xfrm>
            <a:off x="7780757" y="507639"/>
            <a:ext cx="1525828" cy="1330522"/>
          </a:xfrm>
          <a:prstGeom prst="roundRect">
            <a:avLst>
              <a:gd name="adj" fmla="val 7403"/>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399" t="16552" r="399" b="1262"/>
          <a:stretch/>
        </p:blipFill>
        <p:spPr>
          <a:xfrm>
            <a:off x="7782369" y="1912929"/>
            <a:ext cx="1525827" cy="1491149"/>
          </a:xfrm>
          <a:prstGeom prst="roundRect">
            <a:avLst>
              <a:gd name="adj" fmla="val 4045"/>
            </a:avLst>
          </a:prstGeom>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507639"/>
            <a:ext cx="2303141" cy="5227336"/>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Prodotti in Redmond (WA), Stati Uniti</a:t>
            </a:r>
          </a:p>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Applicazioni: edilizia, industria, manutenzione e deposito</a:t>
            </a:r>
          </a:p>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Capacità di passare attraverso porte standard e industriali </a:t>
            </a:r>
          </a:p>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I modelli AWP® sono dotati di stabilizzatori ad X leader del settore </a:t>
            </a:r>
          </a:p>
          <a:p>
            <a:pPr marL="136525" indent="-130175">
              <a:spcBef>
                <a:spcPct val="65000"/>
              </a:spcBef>
              <a:buClr>
                <a:schemeClr val="bg2"/>
              </a:buClr>
              <a:buSzPct val="100000"/>
              <a:buFont typeface="Times" panose="02020603050405020304" pitchFamily="18" charset="0"/>
              <a:buChar char="•"/>
            </a:pPr>
            <a:r>
              <a:rPr lang="it-IT" altLang="en-US" sz="1400" b="1" dirty="0">
                <a:solidFill>
                  <a:schemeClr val="accent3">
                    <a:lumMod val="50000"/>
                  </a:schemeClr>
                </a:solidFill>
                <a:latin typeface="Arial Narrow"/>
              </a:rPr>
              <a:t>Solleva carichi fino a 340 kg ad altezze fino a  12.2 m</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5" name="Rounded Rectangle 4">
            <a:extLst>
              <a:ext uri="{FF2B5EF4-FFF2-40B4-BE49-F238E27FC236}">
                <a16:creationId xmlns:a16="http://schemas.microsoft.com/office/drawing/2014/main" id="{853BB832-04D7-B09A-802F-5CCE89A1A14A}"/>
              </a:ext>
            </a:extLst>
          </p:cNvPr>
          <p:cNvSpPr/>
          <p:nvPr/>
        </p:nvSpPr>
        <p:spPr>
          <a:xfrm>
            <a:off x="448879" y="4090149"/>
            <a:ext cx="7106953" cy="1622681"/>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3FD11F35-E08C-1F2E-BC54-FA1DEDD36A4F}"/>
              </a:ext>
            </a:extLst>
          </p:cNvPr>
          <p:cNvGrpSpPr/>
          <p:nvPr/>
        </p:nvGrpSpPr>
        <p:grpSpPr>
          <a:xfrm>
            <a:off x="566303" y="4120439"/>
            <a:ext cx="6921624" cy="1576808"/>
            <a:chOff x="566303" y="4120439"/>
            <a:chExt cx="6921624" cy="1576808"/>
          </a:xfrm>
        </p:grpSpPr>
        <p:grpSp>
          <p:nvGrpSpPr>
            <p:cNvPr id="3" name="Group 2">
              <a:extLst>
                <a:ext uri="{FF2B5EF4-FFF2-40B4-BE49-F238E27FC236}">
                  <a16:creationId xmlns:a16="http://schemas.microsoft.com/office/drawing/2014/main" id="{43A2A16C-FF10-4C16-B023-2C7F82A10E4C}"/>
                </a:ext>
              </a:extLst>
            </p:cNvPr>
            <p:cNvGrpSpPr/>
            <p:nvPr/>
          </p:nvGrpSpPr>
          <p:grpSpPr>
            <a:xfrm>
              <a:off x="566303" y="4120446"/>
              <a:ext cx="6921624" cy="1576801"/>
              <a:chOff x="558225" y="2579664"/>
              <a:chExt cx="6227731" cy="1576801"/>
            </a:xfrm>
          </p:grpSpPr>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rotWithShape="1">
              <a:blip r:embed="rId8"/>
              <a:srcRect l="91597" b="15764"/>
              <a:stretch/>
            </p:blipFill>
            <p:spPr>
              <a:xfrm>
                <a:off x="6081470" y="2582705"/>
                <a:ext cx="704486" cy="1328226"/>
              </a:xfrm>
              <a:prstGeom prst="rect">
                <a:avLst/>
              </a:prstGeom>
              <a:ln>
                <a:noFill/>
              </a:ln>
            </p:spPr>
          </p:pic>
          <p:pic>
            <p:nvPicPr>
              <p:cNvPr id="15" name="Picture 14">
                <a:extLst>
                  <a:ext uri="{FF2B5EF4-FFF2-40B4-BE49-F238E27FC236}">
                    <a16:creationId xmlns:a16="http://schemas.microsoft.com/office/drawing/2014/main" id="{753EE338-254F-4C27-967D-7C7F229CAF6D}"/>
                  </a:ext>
                </a:extLst>
              </p:cNvPr>
              <p:cNvPicPr>
                <a:picLocks noChangeAspect="1"/>
              </p:cNvPicPr>
              <p:nvPr/>
            </p:nvPicPr>
            <p:blipFill rotWithShape="1">
              <a:blip r:embed="rId8"/>
              <a:srcRect r="62965"/>
              <a:stretch/>
            </p:blipFill>
            <p:spPr>
              <a:xfrm>
                <a:off x="558225" y="2579664"/>
                <a:ext cx="3104909" cy="1576801"/>
              </a:xfrm>
              <a:prstGeom prst="rect">
                <a:avLst/>
              </a:prstGeom>
              <a:ln>
                <a:noFill/>
              </a:ln>
            </p:spPr>
          </p:pic>
        </p:grpSp>
        <p:pic>
          <p:nvPicPr>
            <p:cNvPr id="7" name="Picture 6">
              <a:extLst>
                <a:ext uri="{FF2B5EF4-FFF2-40B4-BE49-F238E27FC236}">
                  <a16:creationId xmlns:a16="http://schemas.microsoft.com/office/drawing/2014/main" id="{3EF79668-7F45-4F8B-A5B1-92E18C6E922D}"/>
                </a:ext>
              </a:extLst>
            </p:cNvPr>
            <p:cNvPicPr>
              <a:picLocks noChangeAspect="1"/>
            </p:cNvPicPr>
            <p:nvPr/>
          </p:nvPicPr>
          <p:blipFill>
            <a:blip r:embed="rId9"/>
            <a:stretch>
              <a:fillRect/>
            </a:stretch>
          </p:blipFill>
          <p:spPr>
            <a:xfrm>
              <a:off x="3989454" y="4120439"/>
              <a:ext cx="2743200" cy="1562100"/>
            </a:xfrm>
            <a:prstGeom prst="rect">
              <a:avLst/>
            </a:prstGeom>
          </p:spPr>
        </p:pic>
      </p:grpSp>
    </p:spTree>
    <p:extLst>
      <p:ext uri="{BB962C8B-B14F-4D97-AF65-F5344CB8AC3E}">
        <p14:creationId xmlns:p14="http://schemas.microsoft.com/office/powerpoint/2010/main" val="9036571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side Corner of Rectangle 3">
            <a:extLst>
              <a:ext uri="{FF2B5EF4-FFF2-40B4-BE49-F238E27FC236}">
                <a16:creationId xmlns:a16="http://schemas.microsoft.com/office/drawing/2014/main" id="{92008472-6DB1-8352-6F6C-9BDAA8E206DE}"/>
              </a:ext>
            </a:extLst>
          </p:cNvPr>
          <p:cNvSpPr/>
          <p:nvPr/>
        </p:nvSpPr>
        <p:spPr>
          <a:xfrm>
            <a:off x="399381" y="2308860"/>
            <a:ext cx="2582669" cy="3398860"/>
          </a:xfrm>
          <a:prstGeom prst="round2SameRect">
            <a:avLst>
              <a:gd name="adj1" fmla="val 0"/>
              <a:gd name="adj2" fmla="val 3245"/>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3" name="Round Same-side Corner of Rectangle 12">
            <a:extLst>
              <a:ext uri="{FF2B5EF4-FFF2-40B4-BE49-F238E27FC236}">
                <a16:creationId xmlns:a16="http://schemas.microsoft.com/office/drawing/2014/main" id="{8E31C3CA-A3F0-22BD-1FDD-644EFD5363CD}"/>
              </a:ext>
            </a:extLst>
          </p:cNvPr>
          <p:cNvSpPr/>
          <p:nvPr/>
        </p:nvSpPr>
        <p:spPr>
          <a:xfrm>
            <a:off x="3359977" y="2308860"/>
            <a:ext cx="2582669" cy="3398860"/>
          </a:xfrm>
          <a:prstGeom prst="round2SameRect">
            <a:avLst>
              <a:gd name="adj1" fmla="val 0"/>
              <a:gd name="adj2" fmla="val 295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4" name="Round Same-side Corner of Rectangle 13">
            <a:extLst>
              <a:ext uri="{FF2B5EF4-FFF2-40B4-BE49-F238E27FC236}">
                <a16:creationId xmlns:a16="http://schemas.microsoft.com/office/drawing/2014/main" id="{D39FF29A-B579-5E45-2740-B082F3DBE324}"/>
              </a:ext>
            </a:extLst>
          </p:cNvPr>
          <p:cNvSpPr/>
          <p:nvPr/>
        </p:nvSpPr>
        <p:spPr>
          <a:xfrm>
            <a:off x="6307055" y="2308860"/>
            <a:ext cx="2582669" cy="3398860"/>
          </a:xfrm>
          <a:prstGeom prst="round2SameRect">
            <a:avLst>
              <a:gd name="adj1" fmla="val 0"/>
              <a:gd name="adj2" fmla="val 3836"/>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5" name="Round Same-side Corner of Rectangle 14">
            <a:extLst>
              <a:ext uri="{FF2B5EF4-FFF2-40B4-BE49-F238E27FC236}">
                <a16:creationId xmlns:a16="http://schemas.microsoft.com/office/drawing/2014/main" id="{91612917-D582-4267-5110-87098C7DD329}"/>
              </a:ext>
            </a:extLst>
          </p:cNvPr>
          <p:cNvSpPr/>
          <p:nvPr/>
        </p:nvSpPr>
        <p:spPr>
          <a:xfrm>
            <a:off x="9216033" y="2308860"/>
            <a:ext cx="2582669" cy="3398860"/>
          </a:xfrm>
          <a:prstGeom prst="round2SameRect">
            <a:avLst>
              <a:gd name="adj1" fmla="val 0"/>
              <a:gd name="adj2" fmla="val 295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6" name="Title 5">
            <a:extLst>
              <a:ext uri="{FF2B5EF4-FFF2-40B4-BE49-F238E27FC236}">
                <a16:creationId xmlns:a16="http://schemas.microsoft.com/office/drawing/2014/main" id="{71D39B81-560A-1B1C-FA68-007950123701}"/>
              </a:ext>
            </a:extLst>
          </p:cNvPr>
          <p:cNvSpPr>
            <a:spLocks noGrp="1"/>
          </p:cNvSpPr>
          <p:nvPr>
            <p:ph type="title"/>
          </p:nvPr>
        </p:nvSpPr>
        <p:spPr>
          <a:xfrm>
            <a:off x="350518" y="216000"/>
            <a:ext cx="11841481" cy="640080"/>
          </a:xfrm>
        </p:spPr>
        <p:txBody>
          <a:bodyPr lIns="0" tIns="0" rIns="0" bIns="0"/>
          <a:lstStyle/>
          <a:p>
            <a:r>
              <a:rPr lang="it-IT" dirty="0">
                <a:solidFill>
                  <a:schemeClr val="accent1"/>
                </a:solidFill>
              </a:rPr>
              <a:t>Tendenze macro a sostegno della crescita della domanda</a:t>
            </a:r>
            <a:endParaRPr lang="en-US" dirty="0">
              <a:solidFill>
                <a:schemeClr val="accent1"/>
              </a:solidFill>
            </a:endParaRPr>
          </a:p>
        </p:txBody>
      </p:sp>
      <p:sp>
        <p:nvSpPr>
          <p:cNvPr id="3" name="TextBox 2">
            <a:extLst>
              <a:ext uri="{FF2B5EF4-FFF2-40B4-BE49-F238E27FC236}">
                <a16:creationId xmlns:a16="http://schemas.microsoft.com/office/drawing/2014/main" id="{CF3A770F-ED50-6671-41BB-6B9ED0A5B677}"/>
              </a:ext>
            </a:extLst>
          </p:cNvPr>
          <p:cNvSpPr txBox="1"/>
          <p:nvPr/>
        </p:nvSpPr>
        <p:spPr>
          <a:xfrm>
            <a:off x="401411" y="1282376"/>
            <a:ext cx="2580639" cy="1026483"/>
          </a:xfrm>
          <a:prstGeom prst="round2SameRect">
            <a:avLst>
              <a:gd name="adj1" fmla="val 11471"/>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rescita</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ella</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flotta</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8" name="TextBox 7">
            <a:extLst>
              <a:ext uri="{FF2B5EF4-FFF2-40B4-BE49-F238E27FC236}">
                <a16:creationId xmlns:a16="http://schemas.microsoft.com/office/drawing/2014/main" id="{E99FD7B4-0241-64A2-7AE1-0721D54DDDC3}"/>
              </a:ext>
            </a:extLst>
          </p:cNvPr>
          <p:cNvSpPr txBox="1"/>
          <p:nvPr/>
        </p:nvSpPr>
        <p:spPr>
          <a:xfrm>
            <a:off x="3364038" y="1282376"/>
            <a:ext cx="2578608" cy="1026483"/>
          </a:xfrm>
          <a:prstGeom prst="round2SameRect">
            <a:avLst>
              <a:gd name="adj1" fmla="val 8501"/>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iclo</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i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ostituzione</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9" name="TextBox 8">
            <a:extLst>
              <a:ext uri="{FF2B5EF4-FFF2-40B4-BE49-F238E27FC236}">
                <a16:creationId xmlns:a16="http://schemas.microsoft.com/office/drawing/2014/main" id="{9991796E-4B73-9C63-B707-963D2FC56400}"/>
              </a:ext>
            </a:extLst>
          </p:cNvPr>
          <p:cNvSpPr txBox="1"/>
          <p:nvPr/>
        </p:nvSpPr>
        <p:spPr>
          <a:xfrm>
            <a:off x="6311116" y="1282376"/>
            <a:ext cx="2578608" cy="1026483"/>
          </a:xfrm>
          <a:prstGeom prst="round2SameRect">
            <a:avLst>
              <a:gd name="adj1" fmla="val 9244"/>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Adozione</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lobale</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 name="TextBox 9">
            <a:extLst>
              <a:ext uri="{FF2B5EF4-FFF2-40B4-BE49-F238E27FC236}">
                <a16:creationId xmlns:a16="http://schemas.microsoft.com/office/drawing/2014/main" id="{84EFB005-0551-2762-F604-022384D9F32E}"/>
              </a:ext>
            </a:extLst>
          </p:cNvPr>
          <p:cNvSpPr txBox="1"/>
          <p:nvPr/>
        </p:nvSpPr>
        <p:spPr>
          <a:xfrm>
            <a:off x="9218735" y="1282376"/>
            <a:ext cx="2578608" cy="1026483"/>
          </a:xfrm>
          <a:prstGeom prst="round2SameRect">
            <a:avLst>
              <a:gd name="adj1" fmla="val 7759"/>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rescita</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ella</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omanda</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graphicFrame>
        <p:nvGraphicFramePr>
          <p:cNvPr id="5" name="Chart 4">
            <a:extLst>
              <a:ext uri="{FF2B5EF4-FFF2-40B4-BE49-F238E27FC236}">
                <a16:creationId xmlns:a16="http://schemas.microsoft.com/office/drawing/2014/main" id="{4B87DDAC-F1B4-5BF1-621C-7DB92E822E66}"/>
              </a:ext>
            </a:extLst>
          </p:cNvPr>
          <p:cNvGraphicFramePr/>
          <p:nvPr/>
        </p:nvGraphicFramePr>
        <p:xfrm>
          <a:off x="449329" y="2509533"/>
          <a:ext cx="2482773" cy="26381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a:extLst>
              <a:ext uri="{FF2B5EF4-FFF2-40B4-BE49-F238E27FC236}">
                <a16:creationId xmlns:a16="http://schemas.microsoft.com/office/drawing/2014/main" id="{C6854D34-20A9-8F76-1B5B-1FB52597B080}"/>
              </a:ext>
            </a:extLst>
          </p:cNvPr>
          <p:cNvGraphicFramePr/>
          <p:nvPr>
            <p:extLst>
              <p:ext uri="{D42A27DB-BD31-4B8C-83A1-F6EECF244321}">
                <p14:modId xmlns:p14="http://schemas.microsoft.com/office/powerpoint/2010/main" val="2862811466"/>
              </p:ext>
            </p:extLst>
          </p:nvPr>
        </p:nvGraphicFramePr>
        <p:xfrm>
          <a:off x="6338801" y="2464689"/>
          <a:ext cx="2398082" cy="27577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a:extLst>
              <a:ext uri="{FF2B5EF4-FFF2-40B4-BE49-F238E27FC236}">
                <a16:creationId xmlns:a16="http://schemas.microsoft.com/office/drawing/2014/main" id="{E2DDA05A-3F19-8696-0481-396F893F9083}"/>
              </a:ext>
            </a:extLst>
          </p:cNvPr>
          <p:cNvGraphicFramePr/>
          <p:nvPr/>
        </p:nvGraphicFramePr>
        <p:xfrm>
          <a:off x="9252293" y="2466128"/>
          <a:ext cx="2436788" cy="2756202"/>
        </p:xfrm>
        <a:graphic>
          <a:graphicData uri="http://schemas.openxmlformats.org/drawingml/2006/chart">
            <c:chart xmlns:c="http://schemas.openxmlformats.org/drawingml/2006/chart" xmlns:r="http://schemas.openxmlformats.org/officeDocument/2006/relationships" r:id="rId5"/>
          </a:graphicData>
        </a:graphic>
      </p:graphicFrame>
      <p:sp>
        <p:nvSpPr>
          <p:cNvPr id="31" name="Rectangle 30">
            <a:extLst>
              <a:ext uri="{FF2B5EF4-FFF2-40B4-BE49-F238E27FC236}">
                <a16:creationId xmlns:a16="http://schemas.microsoft.com/office/drawing/2014/main" id="{3F939815-ADA6-7172-FDBE-ACA9A33E023A}"/>
              </a:ext>
            </a:extLst>
          </p:cNvPr>
          <p:cNvSpPr/>
          <p:nvPr/>
        </p:nvSpPr>
        <p:spPr>
          <a:xfrm>
            <a:off x="3681544" y="3653997"/>
            <a:ext cx="2207451" cy="82119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32" name="TextBox 31">
            <a:extLst>
              <a:ext uri="{FF2B5EF4-FFF2-40B4-BE49-F238E27FC236}">
                <a16:creationId xmlns:a16="http://schemas.microsoft.com/office/drawing/2014/main" id="{DB022153-D95A-7BD6-20BB-6227DA86F6F5}"/>
              </a:ext>
            </a:extLst>
          </p:cNvPr>
          <p:cNvSpPr txBox="1"/>
          <p:nvPr/>
        </p:nvSpPr>
        <p:spPr>
          <a:xfrm>
            <a:off x="3748092" y="4202586"/>
            <a:ext cx="1663785" cy="210822"/>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entury Gothic"/>
                <a:ea typeface="+mn-ea"/>
                <a:cs typeface="+mn-cs"/>
              </a:rPr>
              <a:t>Historical Replacement Age</a:t>
            </a:r>
          </a:p>
        </p:txBody>
      </p:sp>
      <p:sp>
        <p:nvSpPr>
          <p:cNvPr id="7" name="Rectangle 6">
            <a:extLst>
              <a:ext uri="{FF2B5EF4-FFF2-40B4-BE49-F238E27FC236}">
                <a16:creationId xmlns:a16="http://schemas.microsoft.com/office/drawing/2014/main" id="{DBEF4D1F-07CF-1A5D-5DCE-6C57B50BC99F}"/>
              </a:ext>
            </a:extLst>
          </p:cNvPr>
          <p:cNvSpPr/>
          <p:nvPr/>
        </p:nvSpPr>
        <p:spPr>
          <a:xfrm>
            <a:off x="5065434" y="3256243"/>
            <a:ext cx="823561" cy="39299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graphicFrame>
        <p:nvGraphicFramePr>
          <p:cNvPr id="12" name="Chart 11">
            <a:extLst>
              <a:ext uri="{FF2B5EF4-FFF2-40B4-BE49-F238E27FC236}">
                <a16:creationId xmlns:a16="http://schemas.microsoft.com/office/drawing/2014/main" id="{095A6394-9CCB-9F7A-9B73-C002F72545D2}"/>
              </a:ext>
            </a:extLst>
          </p:cNvPr>
          <p:cNvGraphicFramePr/>
          <p:nvPr>
            <p:extLst>
              <p:ext uri="{D42A27DB-BD31-4B8C-83A1-F6EECF244321}">
                <p14:modId xmlns:p14="http://schemas.microsoft.com/office/powerpoint/2010/main" val="4233910832"/>
              </p:ext>
            </p:extLst>
          </p:nvPr>
        </p:nvGraphicFramePr>
        <p:xfrm>
          <a:off x="3413629" y="2450224"/>
          <a:ext cx="2364601" cy="2993911"/>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6965A615-5F0F-6E32-3794-E75918CEAFE7}"/>
              </a:ext>
            </a:extLst>
          </p:cNvPr>
          <p:cNvSpPr txBox="1"/>
          <p:nvPr/>
        </p:nvSpPr>
        <p:spPr>
          <a:xfrm>
            <a:off x="3451302" y="5337564"/>
            <a:ext cx="2448488" cy="334262"/>
          </a:xfrm>
          <a:prstGeom prst="rect">
            <a:avLst/>
          </a:prstGeom>
          <a:noFill/>
        </p:spPr>
        <p:txBody>
          <a:bodyPr wrap="square" lIns="0" tIns="0" rIns="0" bIns="0" rtlCol="0">
            <a:noAutofit/>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Blue line represents actual fleet age </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Blue box represents historic optimum fleet age </a:t>
            </a:r>
          </a:p>
        </p:txBody>
      </p:sp>
      <p:sp>
        <p:nvSpPr>
          <p:cNvPr id="44" name="Equals 43">
            <a:extLst>
              <a:ext uri="{FF2B5EF4-FFF2-40B4-BE49-F238E27FC236}">
                <a16:creationId xmlns:a16="http://schemas.microsoft.com/office/drawing/2014/main" id="{A04081B6-6D38-D53B-985F-1C32570FDDB7}"/>
              </a:ext>
            </a:extLst>
          </p:cNvPr>
          <p:cNvSpPr/>
          <p:nvPr/>
        </p:nvSpPr>
        <p:spPr>
          <a:xfrm>
            <a:off x="8890830" y="1651818"/>
            <a:ext cx="316477" cy="316477"/>
          </a:xfrm>
          <a:prstGeom prst="mathEqual">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18" name="Plus Sign 41">
            <a:extLst>
              <a:ext uri="{FF2B5EF4-FFF2-40B4-BE49-F238E27FC236}">
                <a16:creationId xmlns:a16="http://schemas.microsoft.com/office/drawing/2014/main" id="{F0BD6409-0310-2FDF-2905-AC189AD79519}"/>
              </a:ext>
            </a:extLst>
          </p:cNvPr>
          <p:cNvSpPr/>
          <p:nvPr/>
        </p:nvSpPr>
        <p:spPr>
          <a:xfrm>
            <a:off x="5937706" y="1620881"/>
            <a:ext cx="378350" cy="378350"/>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19" name="Plus Sign 41">
            <a:extLst>
              <a:ext uri="{FF2B5EF4-FFF2-40B4-BE49-F238E27FC236}">
                <a16:creationId xmlns:a16="http://schemas.microsoft.com/office/drawing/2014/main" id="{DA84B257-33AB-D6B4-F9FF-2E92912D2FE3}"/>
              </a:ext>
            </a:extLst>
          </p:cNvPr>
          <p:cNvSpPr/>
          <p:nvPr/>
        </p:nvSpPr>
        <p:spPr>
          <a:xfrm>
            <a:off x="2967460" y="1620881"/>
            <a:ext cx="378350" cy="378350"/>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22" name="Slide Number Placeholder 5">
            <a:extLst>
              <a:ext uri="{FF2B5EF4-FFF2-40B4-BE49-F238E27FC236}">
                <a16:creationId xmlns:a16="http://schemas.microsoft.com/office/drawing/2014/main" id="{D1FA3DAF-1CEB-4CEB-9A6F-1C614A42F5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4CB5746D-EE69-5699-6C50-C887168DC5C8}"/>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3791087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Text&#10;&#10;Description automatically generated">
            <a:extLst>
              <a:ext uri="{FF2B5EF4-FFF2-40B4-BE49-F238E27FC236}">
                <a16:creationId xmlns:a16="http://schemas.microsoft.com/office/drawing/2014/main" id="{73A93014-2492-9046-BDE0-776DB513492B}"/>
              </a:ext>
            </a:extLst>
          </p:cNvPr>
          <p:cNvPicPr>
            <a:picLocks noChangeAspect="1"/>
          </p:cNvPicPr>
          <p:nvPr/>
        </p:nvPicPr>
        <p:blipFill rotWithShape="1">
          <a:blip r:embed="rId5">
            <a:alphaModFix amt="65000"/>
          </a:blip>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1" name="Slide Number Placeholder 5">
            <a:extLst>
              <a:ext uri="{FF2B5EF4-FFF2-40B4-BE49-F238E27FC236}">
                <a16:creationId xmlns:a16="http://schemas.microsoft.com/office/drawing/2014/main" id="{1585481F-1E4A-C842-947B-39AFFC27897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EBC064F3-EBD8-45AB-B517-28EB629300BE}"/>
              </a:ext>
            </a:extLst>
          </p:cNvPr>
          <p:cNvSpPr>
            <a:spLocks noChangeAspect="1"/>
          </p:cNvSpPr>
          <p:nvPr/>
        </p:nvSpPr>
        <p:spPr>
          <a:xfrm>
            <a:off x="2989636" y="125221"/>
            <a:ext cx="5834544" cy="5834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35">
            <a:extLst>
              <a:ext uri="{FF2B5EF4-FFF2-40B4-BE49-F238E27FC236}">
                <a16:creationId xmlns:a16="http://schemas.microsoft.com/office/drawing/2014/main" id="{E379067A-C677-4CC5-99D7-2A11FBB3257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61636" y="197221"/>
            <a:ext cx="5698857" cy="5698857"/>
          </a:xfrm>
          <a:prstGeom prst="rect">
            <a:avLst/>
          </a:prstGeom>
        </p:spPr>
      </p:pic>
      <p:sp>
        <p:nvSpPr>
          <p:cNvPr id="8" name="Title 1">
            <a:extLst>
              <a:ext uri="{FF2B5EF4-FFF2-40B4-BE49-F238E27FC236}">
                <a16:creationId xmlns:a16="http://schemas.microsoft.com/office/drawing/2014/main" id="{98DC1717-FBE8-480F-9277-55A3BD9C1964}"/>
              </a:ext>
            </a:extLst>
          </p:cNvPr>
          <p:cNvSpPr>
            <a:spLocks noGrp="1"/>
          </p:cNvSpPr>
          <p:nvPr>
            <p:ph type="title"/>
          </p:nvPr>
        </p:nvSpPr>
        <p:spPr>
          <a:xfrm>
            <a:off x="350518" y="251251"/>
            <a:ext cx="11841481" cy="640080"/>
          </a:xfrm>
        </p:spPr>
        <p:txBody>
          <a:bodyPr/>
          <a:lstStyle/>
          <a:p>
            <a:r>
              <a:rPr lang="en-US" dirty="0"/>
              <a:t>La nostra </a:t>
            </a:r>
            <a:r>
              <a:rPr lang="en-US" dirty="0" err="1"/>
              <a:t>strategia</a:t>
            </a:r>
            <a:endParaRPr lang="en-US" dirty="0"/>
          </a:p>
        </p:txBody>
      </p:sp>
    </p:spTree>
    <p:extLst>
      <p:ext uri="{BB962C8B-B14F-4D97-AF65-F5344CB8AC3E}">
        <p14:creationId xmlns:p14="http://schemas.microsoft.com/office/powerpoint/2010/main" val="411366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52079A7-A6CE-0846-A796-EC1D98D36C52}"/>
              </a:ext>
            </a:extLst>
          </p:cNvPr>
          <p:cNvSpPr txBox="1"/>
          <p:nvPr/>
        </p:nvSpPr>
        <p:spPr>
          <a:xfrm>
            <a:off x="3512475" y="2989088"/>
            <a:ext cx="8168470" cy="3097530"/>
          </a:xfrm>
          <a:prstGeom prst="roundRect">
            <a:avLst>
              <a:gd name="adj" fmla="val 9208"/>
            </a:avLst>
          </a:prstGeom>
          <a:noFill/>
          <a:ln>
            <a:noFill/>
          </a:ln>
        </p:spPr>
        <p:txBody>
          <a:bodyPr wrap="square" lIns="0" tIns="0" rIns="0" bIns="0" rtlCol="0">
            <a:spAutoFit/>
          </a:bodyPr>
          <a:lstStyle/>
          <a:p>
            <a:pPr marL="574675" indent="-574675">
              <a:buClr>
                <a:schemeClr val="bg2"/>
              </a:buClr>
              <a:buSzPct val="100000"/>
              <a:buFont typeface="+mj-lt"/>
              <a:buAutoNum type="arabicPeriod"/>
            </a:pPr>
            <a:r>
              <a:rPr lang="it-IT" sz="3200" b="1" dirty="0">
                <a:solidFill>
                  <a:schemeClr val="bg2"/>
                </a:solidFill>
                <a:cs typeface="Arial" panose="020B0604020202020204"/>
              </a:rPr>
              <a:t>Qualità </a:t>
            </a:r>
            <a:r>
              <a:rPr lang="it-IT" sz="3200" b="1" dirty="0">
                <a:solidFill>
                  <a:schemeClr val="accent3">
                    <a:lumMod val="50000"/>
                  </a:schemeClr>
                </a:solidFill>
                <a:cs typeface="Arial" panose="020B0604020202020204"/>
              </a:rPr>
              <a:t>ingegneria</a:t>
            </a:r>
            <a:endParaRPr lang="it-IT" sz="3200" b="1" dirty="0">
              <a:solidFill>
                <a:schemeClr val="bg2"/>
              </a:solidFill>
              <a:cs typeface="Arial" panose="020B0604020202020204"/>
            </a:endParaRPr>
          </a:p>
          <a:p>
            <a:pPr marL="574675" indent="-574675">
              <a:buClr>
                <a:schemeClr val="bg2"/>
              </a:buClr>
              <a:buSzPct val="100000"/>
              <a:buFont typeface="+mj-lt"/>
              <a:buAutoNum type="arabicPeriod"/>
            </a:pPr>
            <a:r>
              <a:rPr lang="it-IT" sz="3200" b="1" dirty="0">
                <a:solidFill>
                  <a:schemeClr val="bg2"/>
                </a:solidFill>
                <a:cs typeface="Arial" panose="020B0604020202020204"/>
              </a:rPr>
              <a:t>Qualità </a:t>
            </a:r>
            <a:r>
              <a:rPr lang="it-IT" sz="3200" b="1" dirty="0">
                <a:solidFill>
                  <a:schemeClr val="accent3">
                    <a:lumMod val="50000"/>
                  </a:schemeClr>
                </a:solidFill>
                <a:cs typeface="Arial" panose="020B0604020202020204"/>
              </a:rPr>
              <a:t>del prodotto</a:t>
            </a:r>
          </a:p>
          <a:p>
            <a:pPr marL="574675" indent="-574675">
              <a:buClr>
                <a:schemeClr val="bg2"/>
              </a:buClr>
              <a:buSzPct val="100000"/>
              <a:buFont typeface="+mj-lt"/>
              <a:buAutoNum type="arabicPeriod"/>
            </a:pPr>
            <a:r>
              <a:rPr lang="it-IT" sz="3200" b="1" dirty="0">
                <a:solidFill>
                  <a:schemeClr val="bg2"/>
                </a:solidFill>
                <a:cs typeface="Arial" panose="020B0604020202020204"/>
              </a:rPr>
              <a:t>Qualità </a:t>
            </a:r>
            <a:r>
              <a:rPr lang="it-IT" sz="3200" b="1" dirty="0">
                <a:solidFill>
                  <a:schemeClr val="accent3">
                    <a:lumMod val="50000"/>
                  </a:schemeClr>
                </a:solidFill>
                <a:cs typeface="Arial" panose="020B0604020202020204"/>
              </a:rPr>
              <a:t>della produzione</a:t>
            </a:r>
          </a:p>
          <a:p>
            <a:pPr marL="574675" indent="-574675">
              <a:buClr>
                <a:schemeClr val="bg2"/>
              </a:buClr>
              <a:buSzPct val="100000"/>
              <a:buFont typeface="+mj-lt"/>
              <a:buAutoNum type="arabicPeriod"/>
            </a:pPr>
            <a:r>
              <a:rPr lang="it-IT" sz="3200" b="1" dirty="0">
                <a:solidFill>
                  <a:schemeClr val="bg2"/>
                </a:solidFill>
                <a:cs typeface="Arial" panose="020B0604020202020204"/>
              </a:rPr>
              <a:t>Qualità </a:t>
            </a:r>
            <a:r>
              <a:rPr lang="it-IT" sz="3200" b="1" dirty="0">
                <a:solidFill>
                  <a:schemeClr val="accent3">
                    <a:lumMod val="50000"/>
                  </a:schemeClr>
                </a:solidFill>
                <a:cs typeface="Arial" panose="020B0604020202020204"/>
              </a:rPr>
              <a:t>del servizio, delle vendite e dell'assistenza</a:t>
            </a:r>
          </a:p>
          <a:p>
            <a:pPr marL="574675" indent="-574675">
              <a:buClr>
                <a:schemeClr val="bg2"/>
              </a:buClr>
              <a:buSzPct val="100000"/>
              <a:buFont typeface="+mj-lt"/>
              <a:buAutoNum type="arabicPeriod"/>
            </a:pPr>
            <a:r>
              <a:rPr lang="it-IT" sz="3200" b="1" dirty="0">
                <a:solidFill>
                  <a:schemeClr val="bg2"/>
                </a:solidFill>
                <a:cs typeface="Arial" panose="020B0604020202020204"/>
              </a:rPr>
              <a:t>Qualità </a:t>
            </a:r>
            <a:r>
              <a:rPr lang="it-IT" sz="3200" b="1" dirty="0">
                <a:solidFill>
                  <a:schemeClr val="accent3">
                    <a:lumMod val="50000"/>
                  </a:schemeClr>
                </a:solidFill>
                <a:cs typeface="Arial" panose="020B0604020202020204"/>
              </a:rPr>
              <a:t>dello sviluppo dei talenti</a:t>
            </a:r>
            <a:endParaRPr lang="en-US" sz="3200" b="1" dirty="0">
              <a:solidFill>
                <a:schemeClr val="accent3">
                  <a:lumMod val="50000"/>
                </a:schemeClr>
              </a:solidFill>
              <a:cs typeface="Arial" panose="020B0604020202020204"/>
            </a:endParaRPr>
          </a:p>
        </p:txBody>
      </p:sp>
      <p:sp>
        <p:nvSpPr>
          <p:cNvPr id="4" name="Title 3">
            <a:extLst>
              <a:ext uri="{FF2B5EF4-FFF2-40B4-BE49-F238E27FC236}">
                <a16:creationId xmlns:a16="http://schemas.microsoft.com/office/drawing/2014/main" id="{44AD1D2F-3719-4B1B-B819-9B24C12F8270}"/>
              </a:ext>
            </a:extLst>
          </p:cNvPr>
          <p:cNvSpPr>
            <a:spLocks noGrp="1"/>
          </p:cNvSpPr>
          <p:nvPr>
            <p:ph type="title"/>
          </p:nvPr>
        </p:nvSpPr>
        <p:spPr>
          <a:xfrm>
            <a:off x="350519" y="260761"/>
            <a:ext cx="11841481" cy="640080"/>
          </a:xfrm>
        </p:spPr>
        <p:txBody>
          <a:bodyPr lIns="0" tIns="0" rIns="0" bIns="0">
            <a:normAutofit/>
          </a:bodyPr>
          <a:lstStyle/>
          <a:p>
            <a:r>
              <a:rPr lang="en-US" dirty="0"/>
              <a:t>Quality By Design </a:t>
            </a:r>
            <a:r>
              <a:rPr lang="it-IT" dirty="0"/>
              <a:t>è in tutto ciò che Genie fa</a:t>
            </a:r>
            <a:endParaRPr lang="en-US" dirty="0"/>
          </a:p>
        </p:txBody>
      </p:sp>
      <p:grpSp>
        <p:nvGrpSpPr>
          <p:cNvPr id="12" name="Group 11">
            <a:extLst>
              <a:ext uri="{FF2B5EF4-FFF2-40B4-BE49-F238E27FC236}">
                <a16:creationId xmlns:a16="http://schemas.microsoft.com/office/drawing/2014/main" id="{FED27597-0C0A-9E4B-BB92-CC9C8AA5A9EB}"/>
              </a:ext>
            </a:extLst>
          </p:cNvPr>
          <p:cNvGrpSpPr>
            <a:grpSpLocks noChangeAspect="1"/>
          </p:cNvGrpSpPr>
          <p:nvPr/>
        </p:nvGrpSpPr>
        <p:grpSpPr>
          <a:xfrm>
            <a:off x="350520" y="1270492"/>
            <a:ext cx="6663190" cy="1603337"/>
            <a:chOff x="342900" y="2340454"/>
            <a:chExt cx="5859778" cy="1410015"/>
          </a:xfrm>
          <a:effectLst>
            <a:outerShdw blurRad="50800" dist="50800" dir="5400000" sx="1000" sy="1000" algn="ctr" rotWithShape="0">
              <a:srgbClr val="000000">
                <a:alpha val="43137"/>
              </a:srgbClr>
            </a:outerShdw>
          </a:effectLst>
        </p:grpSpPr>
        <p:sp>
          <p:nvSpPr>
            <p:cNvPr id="14" name="Rounded Rectangle 13">
              <a:extLst>
                <a:ext uri="{FF2B5EF4-FFF2-40B4-BE49-F238E27FC236}">
                  <a16:creationId xmlns:a16="http://schemas.microsoft.com/office/drawing/2014/main" id="{D51EAF89-206F-B64F-A7D3-3E0E565ECBED}"/>
                </a:ext>
              </a:extLst>
            </p:cNvPr>
            <p:cNvSpPr/>
            <p:nvPr/>
          </p:nvSpPr>
          <p:spPr>
            <a:xfrm>
              <a:off x="342900" y="2340454"/>
              <a:ext cx="5859778" cy="1410015"/>
            </a:xfrm>
            <a:prstGeom prst="roundRect">
              <a:avLst>
                <a:gd name="adj" fmla="val 7028"/>
              </a:avLst>
            </a:prstGeom>
            <a:solidFill>
              <a:schemeClr val="bg1"/>
            </a:solid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3" name="Picture 12" descr="A picture containing drawing&#10;&#10;Description automatically generated">
              <a:extLst>
                <a:ext uri="{FF2B5EF4-FFF2-40B4-BE49-F238E27FC236}">
                  <a16:creationId xmlns:a16="http://schemas.microsoft.com/office/drawing/2014/main" id="{BE6F11A2-01BB-DA49-B666-44600E98BC9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grpSp>
      <p:grpSp>
        <p:nvGrpSpPr>
          <p:cNvPr id="19" name="Group 18">
            <a:extLst>
              <a:ext uri="{FF2B5EF4-FFF2-40B4-BE49-F238E27FC236}">
                <a16:creationId xmlns:a16="http://schemas.microsoft.com/office/drawing/2014/main" id="{DA82635F-9256-EC41-8DAE-78D28E4EA2F9}"/>
              </a:ext>
            </a:extLst>
          </p:cNvPr>
          <p:cNvGrpSpPr/>
          <p:nvPr/>
        </p:nvGrpSpPr>
        <p:grpSpPr>
          <a:xfrm>
            <a:off x="2046514" y="3341914"/>
            <a:ext cx="1343292" cy="2209801"/>
            <a:chOff x="2046514" y="3341914"/>
            <a:chExt cx="1574818" cy="2209801"/>
          </a:xfrm>
        </p:grpSpPr>
        <p:cxnSp>
          <p:nvCxnSpPr>
            <p:cNvPr id="8" name="Straight Connector 7">
              <a:extLst>
                <a:ext uri="{FF2B5EF4-FFF2-40B4-BE49-F238E27FC236}">
                  <a16:creationId xmlns:a16="http://schemas.microsoft.com/office/drawing/2014/main" id="{AE93E2FA-D967-E24A-A2D3-8A43F6A82480}"/>
                </a:ext>
              </a:extLst>
            </p:cNvPr>
            <p:cNvCxnSpPr>
              <a:cxnSpLocks/>
            </p:cNvCxnSpPr>
            <p:nvPr/>
          </p:nvCxnSpPr>
          <p:spPr>
            <a:xfrm flipH="1">
              <a:off x="2046514" y="33419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C2CEEE-07AD-0E46-A715-B16029D1BAAC}"/>
                </a:ext>
              </a:extLst>
            </p:cNvPr>
            <p:cNvCxnSpPr>
              <a:cxnSpLocks/>
            </p:cNvCxnSpPr>
            <p:nvPr/>
          </p:nvCxnSpPr>
          <p:spPr>
            <a:xfrm flipH="1">
              <a:off x="2046514" y="38943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CCFC14-73FC-0E4B-AB66-0BC4EB23CB42}"/>
                </a:ext>
              </a:extLst>
            </p:cNvPr>
            <p:cNvCxnSpPr>
              <a:cxnSpLocks/>
            </p:cNvCxnSpPr>
            <p:nvPr/>
          </p:nvCxnSpPr>
          <p:spPr>
            <a:xfrm flipH="1">
              <a:off x="2046514" y="5551715"/>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B15D68A-1F0C-814D-B6DA-DCB7DD81B36B}"/>
                </a:ext>
              </a:extLst>
            </p:cNvPr>
            <p:cNvCxnSpPr>
              <a:cxnSpLocks/>
            </p:cNvCxnSpPr>
            <p:nvPr/>
          </p:nvCxnSpPr>
          <p:spPr>
            <a:xfrm flipH="1">
              <a:off x="2046514" y="49992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7487FB4-9E1D-8640-914E-1B175124326B}"/>
                </a:ext>
              </a:extLst>
            </p:cNvPr>
            <p:cNvCxnSpPr>
              <a:cxnSpLocks/>
            </p:cNvCxnSpPr>
            <p:nvPr/>
          </p:nvCxnSpPr>
          <p:spPr>
            <a:xfrm flipH="1">
              <a:off x="2046514" y="44468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44FBA57B-809D-EA45-AA52-5CE7FBEF95AE}"/>
              </a:ext>
            </a:extLst>
          </p:cNvPr>
          <p:cNvCxnSpPr>
            <a:cxnSpLocks/>
          </p:cNvCxnSpPr>
          <p:nvPr/>
        </p:nvCxnSpPr>
        <p:spPr>
          <a:xfrm flipV="1">
            <a:off x="2046514" y="2873830"/>
            <a:ext cx="0" cy="267788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5">
            <a:extLst>
              <a:ext uri="{FF2B5EF4-FFF2-40B4-BE49-F238E27FC236}">
                <a16:creationId xmlns:a16="http://schemas.microsoft.com/office/drawing/2014/main" id="{0057EACF-CEC4-B747-A54F-7FF3E90340D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74DA3F06-A199-0D46-9F97-6F2B91E267CC}"/>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22032498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pPr algn="l" rtl="0"/>
            <a:r>
              <a:rPr lang="it" b="1" i="0" u="none" baseline="0"/>
              <a:t>Presenza Produttiva Globale</a:t>
            </a:r>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pPr algn="l" rtl="0"/>
            <a:r>
              <a:rPr lang="it" b="1" i="0" u="none" baseline="0"/>
              <a:t>Sedi regionali per servire meglio i clienti</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184023" y="1835119"/>
            <a:ext cx="3043288" cy="2338570"/>
            <a:chOff x="-333122" y="691116"/>
            <a:chExt cx="3175382" cy="2440075"/>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2215463" y="1292288"/>
              <a:ext cx="626797" cy="618865"/>
            </a:xfrm>
            <a:prstGeom prst="bentConnector3">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333122" y="691116"/>
              <a:ext cx="2548585" cy="2440075"/>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buClrTx/>
                <a:buSzTx/>
                <a:buFontTx/>
                <a:buNone/>
                <a:tabLst/>
                <a:defRPr/>
              </a:pPr>
              <a: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t>Redmond (WA), </a:t>
              </a: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t>Stati Uniti</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Sollevatori di Persone</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GB"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Sollevatori</a:t>
              </a:r>
              <a:r>
                <a:rPr kumimoji="0" lang="en-GB"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 di </a:t>
              </a:r>
              <a:r>
                <a:rPr kumimoji="0" lang="en-GB"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materiali</a:t>
              </a:r>
              <a:r>
                <a:rPr kumimoji="0" lang="en-GB"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 </a:t>
              </a:r>
              <a:r>
                <a:rPr kumimoji="0" lang="en-GB"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manuali</a:t>
              </a:r>
              <a:endParaRPr kumimoji="0" lang="it"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endParaRP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iattaforme a Braccio Articolato</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iattaforme a Forbice</a:t>
              </a:r>
              <a:endParaRPr kumimoji="0" lang="it" sz="14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423362" y="2448914"/>
              <a:ext cx="1308868" cy="646051"/>
              <a:chOff x="37473" y="657733"/>
              <a:chExt cx="3155761" cy="1557666"/>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473" y="962667"/>
                <a:ext cx="563880" cy="1252732"/>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69243" y="657733"/>
                <a:ext cx="1023991" cy="1540861"/>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3011" y="736107"/>
                <a:ext cx="652579" cy="1418049"/>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40418" y="4516494"/>
            <a:ext cx="2872910" cy="1372232"/>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Ins="504000"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t>Moses Lake (WA),</a:t>
            </a:r>
            <a:b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t> Stati Uniti</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it"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iattaforme a Braccio Telescopico</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it"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iattaforme a Braccio Articolato</a:t>
            </a: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213328" y="2453848"/>
            <a:ext cx="74723" cy="2748762"/>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454726" y="4811599"/>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80" name="Group 4379">
            <a:extLst>
              <a:ext uri="{FF2B5EF4-FFF2-40B4-BE49-F238E27FC236}">
                <a16:creationId xmlns:a16="http://schemas.microsoft.com/office/drawing/2014/main" id="{9898D5B8-1A19-46CE-BBF0-6DE276AC7525}"/>
              </a:ext>
            </a:extLst>
          </p:cNvPr>
          <p:cNvGrpSpPr/>
          <p:nvPr/>
        </p:nvGrpSpPr>
        <p:grpSpPr>
          <a:xfrm>
            <a:off x="3395387" y="3109204"/>
            <a:ext cx="2975432" cy="2775753"/>
            <a:chOff x="3315510" y="2425426"/>
            <a:chExt cx="3104579" cy="2896238"/>
          </a:xfrm>
        </p:grpSpPr>
        <p:sp>
          <p:nvSpPr>
            <p:cNvPr id="4381" name="Rounded Rectangle 4380">
              <a:extLst>
                <a:ext uri="{FF2B5EF4-FFF2-40B4-BE49-F238E27FC236}">
                  <a16:creationId xmlns:a16="http://schemas.microsoft.com/office/drawing/2014/main" id="{8A5A893D-DA33-4FC7-82BB-E344801315C8}"/>
                </a:ext>
              </a:extLst>
            </p:cNvPr>
            <p:cNvSpPr/>
            <p:nvPr/>
          </p:nvSpPr>
          <p:spPr>
            <a:xfrm>
              <a:off x="3632984" y="3893801"/>
              <a:ext cx="2787105" cy="1427863"/>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Ins="396000"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t>Monterrey,</a:t>
              </a:r>
              <a:b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t>Messico</a:t>
              </a:r>
              <a:endParaRPr kumimoji="0" lang="it" sz="1400" b="1" i="0" u="none" strike="noStrike" kern="1200" cap="none" spc="0" normalizeH="0" baseline="0" noProof="0" dirty="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Sollevatori telescopici</a:t>
              </a: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lang="en-GB" sz="1200" dirty="0" err="1">
                  <a:solidFill>
                    <a:schemeClr val="accent3">
                      <a:lumMod val="50000"/>
                    </a:schemeClr>
                  </a:solidFill>
                  <a:latin typeface="Arial" panose="020B0604020202020204"/>
                </a:rPr>
                <a:t>Piattaforme</a:t>
              </a:r>
              <a:r>
                <a:rPr lang="en-GB" sz="1200" dirty="0">
                  <a:solidFill>
                    <a:schemeClr val="accent3">
                      <a:lumMod val="50000"/>
                    </a:schemeClr>
                  </a:solidFill>
                  <a:latin typeface="Arial" panose="020B0604020202020204"/>
                </a:rPr>
                <a:t> </a:t>
              </a:r>
              <a:r>
                <a:rPr lang="en-GB" sz="1200" dirty="0" err="1">
                  <a:solidFill>
                    <a:schemeClr val="accent3">
                      <a:lumMod val="50000"/>
                    </a:schemeClr>
                  </a:solidFill>
                  <a:latin typeface="Arial" panose="020B0604020202020204"/>
                </a:rPr>
                <a:t>verticali</a:t>
              </a:r>
              <a:r>
                <a:rPr lang="en-GB" sz="1200" dirty="0">
                  <a:solidFill>
                    <a:schemeClr val="accent3">
                      <a:lumMod val="50000"/>
                    </a:schemeClr>
                  </a:solidFill>
                  <a:latin typeface="Arial" panose="020B0604020202020204"/>
                </a:rPr>
                <a:t> a </a:t>
              </a:r>
              <a:r>
                <a:rPr lang="en-GB" sz="1200" dirty="0" err="1">
                  <a:solidFill>
                    <a:schemeClr val="accent3">
                      <a:lumMod val="50000"/>
                    </a:schemeClr>
                  </a:solidFill>
                  <a:latin typeface="Arial" panose="020B0604020202020204"/>
                </a:rPr>
                <a:t>colonna</a:t>
              </a:r>
              <a:endParaRPr lang="it" sz="1200" dirty="0">
                <a:solidFill>
                  <a:schemeClr val="accent3">
                    <a:lumMod val="50000"/>
                  </a:schemeClr>
                </a:solidFill>
                <a:latin typeface="Arial" panose="020B0604020202020204"/>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GB"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Piattaforme</a:t>
              </a:r>
              <a:r>
                <a:rPr kumimoji="0" lang="en-GB"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 a </a:t>
              </a:r>
              <a:r>
                <a:rPr kumimoji="0" lang="en-GB"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forbice</a:t>
              </a:r>
              <a:endParaRPr kumimoji="0" lang="it"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endParaRPr>
            </a:p>
          </p:txBody>
        </p:sp>
        <p:cxnSp>
          <p:nvCxnSpPr>
            <p:cNvPr id="4382" name="Connector: Elbow 4366">
              <a:extLst>
                <a:ext uri="{FF2B5EF4-FFF2-40B4-BE49-F238E27FC236}">
                  <a16:creationId xmlns:a16="http://schemas.microsoft.com/office/drawing/2014/main" id="{D032B0E4-54E5-4560-8A94-C5034E95F96D}"/>
                </a:ext>
              </a:extLst>
            </p:cNvPr>
            <p:cNvCxnSpPr>
              <a:cxnSpLocks/>
              <a:stCxn id="4381" idx="0"/>
            </p:cNvCxnSpPr>
            <p:nvPr/>
          </p:nvCxnSpPr>
          <p:spPr>
            <a:xfrm rot="16200000" flipV="1">
              <a:off x="3436836" y="2304100"/>
              <a:ext cx="1468376" cy="1711027"/>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4383" name="Graphic 4397">
              <a:extLst>
                <a:ext uri="{FF2B5EF4-FFF2-40B4-BE49-F238E27FC236}">
                  <a16:creationId xmlns:a16="http://schemas.microsoft.com/office/drawing/2014/main" id="{489D0F8E-19FB-4031-AB18-9F9E6F7F58B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512247" y="4622163"/>
              <a:ext cx="236531" cy="581470"/>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67" y="2557141"/>
            <a:ext cx="2529393" cy="3342940"/>
            <a:chOff x="6415604" y="2260200"/>
            <a:chExt cx="2639182" cy="3488043"/>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624584" y="2059292"/>
              <a:ext cx="909704" cy="1311520"/>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415604" y="3169904"/>
              <a:ext cx="2639182" cy="2578339"/>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t>Umbertide, </a:t>
              </a:r>
              <a:b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it" sz="1400" b="1" i="0" u="none" strike="noStrike" kern="1200" cap="none" spc="0" normalizeH="0" baseline="0" dirty="0">
                  <a:ln>
                    <a:noFill/>
                  </a:ln>
                  <a:solidFill>
                    <a:srgbClr val="0079C1"/>
                  </a:solidFill>
                  <a:effectLst/>
                  <a:uLnTx/>
                  <a:uFillTx/>
                  <a:latin typeface="Arial" panose="020B0604020202020204"/>
                  <a:ea typeface="+mn-ea"/>
                  <a:cs typeface="+mn-cs"/>
                </a:rPr>
                <a:t>Italia</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dirty="0">
                  <a:ln>
                    <a:noFill/>
                  </a:ln>
                  <a:solidFill>
                    <a:srgbClr val="7C878E"/>
                  </a:solidFill>
                  <a:effectLst/>
                  <a:uLnTx/>
                  <a:uFillTx/>
                  <a:latin typeface="Arial" panose="020B0604020202020204"/>
                  <a:ea typeface="+mn-ea"/>
                  <a:cs typeface="+mn-cs"/>
                </a:rPr>
                <a:t>Sollevatori telescopici (ANSI)</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dirty="0">
                  <a:ln>
                    <a:noFill/>
                  </a:ln>
                  <a:solidFill>
                    <a:srgbClr val="7C878E"/>
                  </a:solidFill>
                  <a:effectLst/>
                  <a:uLnTx/>
                  <a:uFillTx/>
                  <a:latin typeface="Arial" panose="020B0604020202020204"/>
                  <a:ea typeface="+mn-ea"/>
                  <a:cs typeface="+mn-cs"/>
                </a:rPr>
                <a:t>Piattaforme a Braccio Telescopico</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dirty="0">
                  <a:ln>
                    <a:noFill/>
                  </a:ln>
                  <a:solidFill>
                    <a:srgbClr val="7C878E"/>
                  </a:solidFill>
                  <a:effectLst/>
                  <a:uLnTx/>
                  <a:uFillTx/>
                  <a:latin typeface="Arial" panose="020B0604020202020204"/>
                  <a:ea typeface="+mn-ea"/>
                  <a:cs typeface="+mn-cs"/>
                </a:rPr>
                <a:t>Piattaforme a Braccio Articolato</a:t>
              </a:r>
            </a:p>
            <a:p>
              <a:pPr marL="133350" indent="-133350">
                <a:spcAft>
                  <a:spcPts val="300"/>
                </a:spcAft>
                <a:buClr>
                  <a:schemeClr val="bg2"/>
                </a:buClr>
                <a:buFont typeface="Arial" panose="020B0604020202020204" pitchFamily="34" charset="0"/>
                <a:buChar char="•"/>
                <a:defRPr/>
              </a:pPr>
              <a:r>
                <a:rPr lang="en-US" sz="1200" dirty="0">
                  <a:solidFill>
                    <a:srgbClr val="7C878E"/>
                  </a:solidFill>
                  <a:latin typeface="Arial" panose="020B0604020202020204"/>
                </a:rPr>
                <a:t>GS-xx69 RT &amp; DC</a:t>
              </a:r>
              <a:endParaRPr kumimoji="0" lang="it" sz="1200" b="0" i="0" u="none" strike="noStrike" kern="1200" cap="none" spc="0" normalizeH="0" baseline="0" dirty="0">
                <a:ln>
                  <a:noFill/>
                </a:ln>
                <a:solidFill>
                  <a:srgbClr val="7C878E"/>
                </a:solidFill>
                <a:effectLst/>
                <a:uLnTx/>
                <a:uFillTx/>
                <a:latin typeface="Arial" panose="020B0604020202020204"/>
                <a:ea typeface="+mn-ea"/>
                <a:cs typeface="+mn-cs"/>
              </a:endParaRPr>
            </a:p>
            <a:p>
              <a:pPr marL="27432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it" sz="12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049374" y="4924706"/>
              <a:ext cx="760443" cy="789475"/>
              <a:chOff x="7062074" y="4981856"/>
              <a:chExt cx="760443" cy="789475"/>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062074" y="5095056"/>
                <a:ext cx="450850" cy="676275"/>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510698" y="4981856"/>
                <a:ext cx="311819" cy="743334"/>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5" y="3131609"/>
            <a:ext cx="1976156" cy="2569307"/>
            <a:chOff x="9467852" y="2781301"/>
            <a:chExt cx="2061932" cy="2680828"/>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581762" y="3593381"/>
              <a:ext cx="1948022" cy="186874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a:ln>
                    <a:noFill/>
                  </a:ln>
                  <a:solidFill>
                    <a:srgbClr val="0079C1"/>
                  </a:solidFill>
                  <a:effectLst/>
                  <a:uLnTx/>
                  <a:uFillTx/>
                  <a:latin typeface="Arial" panose="020B0604020202020204"/>
                  <a:ea typeface="+mn-ea"/>
                  <a:cs typeface="+mn-cs"/>
                </a:rPr>
                <a:t>Changzhou, </a:t>
              </a:r>
              <a:br>
                <a:rPr kumimoji="0" lang="it" sz="1400" b="1" i="0" u="none" strike="noStrike" kern="1200" cap="none" spc="0" normalizeH="0" baseline="0">
                  <a:ln>
                    <a:noFill/>
                  </a:ln>
                  <a:solidFill>
                    <a:srgbClr val="0079C1"/>
                  </a:solidFill>
                  <a:effectLst/>
                  <a:uLnTx/>
                  <a:uFillTx/>
                  <a:latin typeface="Arial" panose="020B0604020202020204"/>
                  <a:ea typeface="+mn-ea"/>
                  <a:cs typeface="+mn-cs"/>
                </a:rPr>
              </a:br>
              <a:r>
                <a:rPr kumimoji="0" lang="it" sz="1400" b="1" i="0" u="none" strike="noStrike" kern="1200" cap="none" spc="0" normalizeH="0" baseline="0">
                  <a:ln>
                    <a:noFill/>
                  </a:ln>
                  <a:solidFill>
                    <a:srgbClr val="0079C1"/>
                  </a:solidFill>
                  <a:effectLst/>
                  <a:uLnTx/>
                  <a:uFillTx/>
                  <a:latin typeface="Arial" panose="020B0604020202020204"/>
                  <a:ea typeface="+mn-ea"/>
                  <a:cs typeface="+mn-cs"/>
                </a:rPr>
                <a:t>Cin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rgbClr val="7C878E"/>
                  </a:solidFill>
                  <a:effectLst/>
                  <a:uLnTx/>
                  <a:uFillTx/>
                  <a:latin typeface="Arial" panose="020B0604020202020204"/>
                  <a:ea typeface="+mn-ea"/>
                  <a:cs typeface="+mn-cs"/>
                </a:rPr>
                <a:t>Piattaforme a Forbice</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rgbClr val="7C878E"/>
                  </a:solidFill>
                  <a:effectLst/>
                  <a:uLnTx/>
                  <a:uFillTx/>
                  <a:latin typeface="Arial" panose="020B0604020202020204"/>
                  <a:ea typeface="+mn-ea"/>
                  <a:cs typeface="+mn-cs"/>
                </a:rPr>
                <a:t>Piattaforme a Braccio Telescopico</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605773" y="2643380"/>
              <a:ext cx="812080" cy="1087921"/>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764668" y="4640778"/>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084030" y="4596722"/>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20"/>
          <a:stretch>
            <a:fillRect/>
          </a:stretch>
        </p:blipFill>
        <p:spPr>
          <a:xfrm>
            <a:off x="7947343" y="5202610"/>
            <a:ext cx="408467" cy="609653"/>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95654" y="1842709"/>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92893" y="4516494"/>
            <a:ext cx="397239" cy="397239"/>
          </a:xfrm>
          <a:prstGeom prst="rect">
            <a:avLst/>
          </a:prstGeom>
        </p:spPr>
      </p:pic>
      <p:pic>
        <p:nvPicPr>
          <p:cNvPr id="17" name="Graphic 16">
            <a:extLst>
              <a:ext uri="{FF2B5EF4-FFF2-40B4-BE49-F238E27FC236}">
                <a16:creationId xmlns:a16="http://schemas.microsoft.com/office/drawing/2014/main" id="{33BECF0D-B59D-5048-9633-C19588DF90C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899711" y="4517733"/>
            <a:ext cx="396000" cy="396000"/>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28761" y="3482085"/>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046501" y="3878085"/>
            <a:ext cx="396000" cy="396000"/>
          </a:xfrm>
          <a:prstGeom prst="rect">
            <a:avLst/>
          </a:prstGeom>
        </p:spPr>
      </p:pic>
      <p:pic>
        <p:nvPicPr>
          <p:cNvPr id="2" name="Graphic 1">
            <a:extLst>
              <a:ext uri="{FF2B5EF4-FFF2-40B4-BE49-F238E27FC236}">
                <a16:creationId xmlns:a16="http://schemas.microsoft.com/office/drawing/2014/main" id="{5B2093FD-0B9D-98A9-EB4F-F5ADB877A10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56282" y="3639232"/>
            <a:ext cx="344912" cy="462716"/>
          </a:xfrm>
          <a:prstGeom prst="rect">
            <a:avLst/>
          </a:prstGeom>
        </p:spPr>
      </p:pic>
      <p:pic>
        <p:nvPicPr>
          <p:cNvPr id="16" name="Graphic 15">
            <a:extLst>
              <a:ext uri="{FF2B5EF4-FFF2-40B4-BE49-F238E27FC236}">
                <a16:creationId xmlns:a16="http://schemas.microsoft.com/office/drawing/2014/main" id="{444730B3-1C90-3799-DD21-0C288C85BD8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5788425" y="5168818"/>
            <a:ext cx="166534" cy="609654"/>
          </a:xfrm>
          <a:prstGeom prst="rect">
            <a:avLst/>
          </a:prstGeom>
        </p:spPr>
      </p:pic>
      <p:pic>
        <p:nvPicPr>
          <p:cNvPr id="18" name="Graphic 4438">
            <a:extLst>
              <a:ext uri="{FF2B5EF4-FFF2-40B4-BE49-F238E27FC236}">
                <a16:creationId xmlns:a16="http://schemas.microsoft.com/office/drawing/2014/main" id="{26A333E1-7DC9-E328-AEB1-9AD2DA6D32D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6073139" y="5162183"/>
            <a:ext cx="222572" cy="609654"/>
          </a:xfrm>
          <a:prstGeom prst="rect">
            <a:avLst/>
          </a:prstGeom>
        </p:spPr>
      </p:pic>
      <p:pic>
        <p:nvPicPr>
          <p:cNvPr id="19" name="Picture 18">
            <a:extLst>
              <a:ext uri="{FF2B5EF4-FFF2-40B4-BE49-F238E27FC236}">
                <a16:creationId xmlns:a16="http://schemas.microsoft.com/office/drawing/2014/main" id="{80F35116-F2F9-84BB-0D8C-647A7D2C169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517475" y="5328615"/>
            <a:ext cx="222572" cy="483648"/>
          </a:xfrm>
          <a:prstGeom prst="rect">
            <a:avLst/>
          </a:prstGeom>
        </p:spPr>
      </p:pic>
    </p:spTree>
    <p:extLst>
      <p:ext uri="{BB962C8B-B14F-4D97-AF65-F5344CB8AC3E}">
        <p14:creationId xmlns:p14="http://schemas.microsoft.com/office/powerpoint/2010/main" val="368717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1" fill="hold" nodeType="afterEffect">
                                  <p:stCondLst>
                                    <p:cond delay="1500"/>
                                  </p:stCondLst>
                                  <p:childTnLst>
                                    <p:set>
                                      <p:cBhvr>
                                        <p:cTn id="14" dur="1" fill="hold">
                                          <p:stCondLst>
                                            <p:cond delay="0"/>
                                          </p:stCondLst>
                                        </p:cTn>
                                        <p:tgtEl>
                                          <p:spTgt spid="4380"/>
                                        </p:tgtEl>
                                        <p:attrNameLst>
                                          <p:attrName>style.visibility</p:attrName>
                                        </p:attrNameLst>
                                      </p:cBhvr>
                                      <p:to>
                                        <p:strVal val="visible"/>
                                      </p:to>
                                    </p:set>
                                    <p:animEffect transition="in" filter="wipe(up)">
                                      <p:cBhvr>
                                        <p:cTn id="15" dur="500"/>
                                        <p:tgtEl>
                                          <p:spTgt spid="4380"/>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80"/>
                                        </p:tgtEl>
                                        <p:attrNameLst>
                                          <p:attrName>style.opacity</p:attrName>
                                        </p:attrNameLst>
                                      </p:cBhvr>
                                      <p:to>
                                        <p:strVal val="0.25"/>
                                      </p:to>
                                    </p:set>
                                    <p:animEffect filter="image" prLst="opacity: 0.25">
                                      <p:cBhvr rctx="IE">
                                        <p:cTn id="19" dur="indefinite"/>
                                        <p:tgtEl>
                                          <p:spTgt spid="4380"/>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1"/>
                                        </p:tgtEl>
                                        <p:attrNameLst>
                                          <p:attrName>style.visibility</p:attrName>
                                        </p:attrNameLst>
                                      </p:cBhvr>
                                      <p:to>
                                        <p:strVal val="visible"/>
                                      </p:to>
                                    </p:set>
                                    <p:animEffect transition="in" filter="wipe(down)">
                                      <p:cBhvr>
                                        <p:cTn id="23" dur="500"/>
                                        <p:tgtEl>
                                          <p:spTgt spid="4391"/>
                                        </p:tgtEl>
                                      </p:cBhvr>
                                    </p:animEffect>
                                  </p:childTnLst>
                                </p:cTn>
                              </p:par>
                            </p:childTnLst>
                          </p:cTn>
                        </p:par>
                        <p:par>
                          <p:cTn id="24" fill="hold">
                            <p:stCondLst>
                              <p:cond delay="14500"/>
                            </p:stCondLst>
                            <p:childTnLst>
                              <p:par>
                                <p:cTn id="25" presetID="9" presetClass="emph" presetSubtype="0" nodeType="afterEffect">
                                  <p:stCondLst>
                                    <p:cond delay="5000"/>
                                  </p:stCondLst>
                                  <p:childTnLst>
                                    <p:set>
                                      <p:cBhvr>
                                        <p:cTn id="26" dur="indefinite"/>
                                        <p:tgtEl>
                                          <p:spTgt spid="4391"/>
                                        </p:tgtEl>
                                        <p:attrNameLst>
                                          <p:attrName>style.opacity</p:attrName>
                                        </p:attrNameLst>
                                      </p:cBhvr>
                                      <p:to>
                                        <p:strVal val="0.25"/>
                                      </p:to>
                                    </p:set>
                                    <p:animEffect filter="image" prLst="opacity: 0.25">
                                      <p:cBhvr rctx="IE">
                                        <p:cTn id="27" dur="indefinite"/>
                                        <p:tgtEl>
                                          <p:spTgt spid="4391"/>
                                        </p:tgtEl>
                                      </p:cBhvr>
                                    </p:animEffect>
                                  </p:childTnLst>
                                </p:cTn>
                              </p:par>
                            </p:childTnLst>
                          </p:cTn>
                        </p:par>
                        <p:par>
                          <p:cTn id="28" fill="hold">
                            <p:stCondLst>
                              <p:cond delay="19500"/>
                            </p:stCondLst>
                            <p:childTnLst>
                              <p:par>
                                <p:cTn id="29" presetID="22" presetClass="entr" presetSubtype="4" fill="hold" nodeType="afterEffect">
                                  <p:stCondLst>
                                    <p:cond delay="1500"/>
                                  </p:stCondLst>
                                  <p:childTnLst>
                                    <p:set>
                                      <p:cBhvr>
                                        <p:cTn id="30" dur="1" fill="hold">
                                          <p:stCondLst>
                                            <p:cond delay="0"/>
                                          </p:stCondLst>
                                        </p:cTn>
                                        <p:tgtEl>
                                          <p:spTgt spid="4397"/>
                                        </p:tgtEl>
                                        <p:attrNameLst>
                                          <p:attrName>style.visibility</p:attrName>
                                        </p:attrNameLst>
                                      </p:cBhvr>
                                      <p:to>
                                        <p:strVal val="visible"/>
                                      </p:to>
                                    </p:set>
                                    <p:animEffect transition="in" filter="wipe(down)">
                                      <p:cBhvr>
                                        <p:cTn id="31" dur="500"/>
                                        <p:tgtEl>
                                          <p:spTgt spid="4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r>
              <a:rPr lang="it" b="1" i="0" u="none" baseline="0"/>
              <a:t>Magazzini</a:t>
            </a:r>
            <a:r>
              <a:rPr lang="it"/>
              <a:t> di </a:t>
            </a:r>
            <a:r>
              <a:rPr lang="it">
                <a:ea typeface="+mj-lt"/>
                <a:cs typeface="+mj-lt"/>
              </a:rPr>
              <a:t>Distribuzione</a:t>
            </a:r>
            <a:endParaRPr lang="it" b="1" i="0" u="none" baseline="0"/>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algn="l" defTabSz="914303" rtl="0"/>
            <a:r>
              <a:rPr lang="it" sz="2000" b="1" i="0" u="none" baseline="0"/>
              <a:t>Sedi Globali</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45674" y="1769571"/>
            <a:ext cx="2366682" cy="3780522"/>
          </a:xfrm>
          <a:prstGeom prst="rect">
            <a:avLst/>
          </a:prstGeom>
        </p:spPr>
        <p:txBody>
          <a:bodyPr wrap="square" lIns="0" tIns="0" rIns="0" bIns="0">
            <a:spAutoFit/>
          </a:bodyPr>
          <a:lstStyle/>
          <a:p>
            <a:pPr algn="l" rtl="0">
              <a:spcBef>
                <a:spcPts val="1000"/>
              </a:spcBef>
              <a:buFont typeface="Arial" panose="020B0604020202020204" pitchFamily="34" charset="0"/>
            </a:pPr>
            <a:r>
              <a:rPr lang="it" b="1" i="0" u="none" baseline="0">
                <a:solidFill>
                  <a:schemeClr val="accent3">
                    <a:lumMod val="50000"/>
                  </a:schemeClr>
                </a:solidFill>
              </a:rPr>
              <a:t>Annualmente consegnamo:</a:t>
            </a:r>
          </a:p>
          <a:p>
            <a:pPr algn="l" rtl="0">
              <a:spcBef>
                <a:spcPts val="1000"/>
              </a:spcBef>
              <a:buFont typeface="Arial" panose="020B0604020202020204" pitchFamily="34" charset="0"/>
            </a:pPr>
            <a:endParaRPr lang="it" sz="600" b="1">
              <a:solidFill>
                <a:schemeClr val="accent3">
                  <a:lumMod val="50000"/>
                </a:schemeClr>
              </a:solidFill>
            </a:endParaRP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it" sz="2000" b="0" i="0" u="none" baseline="0">
                <a:solidFill>
                  <a:schemeClr val="accent3">
                    <a:lumMod val="50000"/>
                  </a:schemeClr>
                </a:solidFill>
              </a:rPr>
              <a:t>2,5 milioni di linee di ordine in uscita</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it" sz="2000" b="1" i="0" u="none" baseline="0">
                <a:solidFill>
                  <a:schemeClr val="accent3">
                    <a:lumMod val="50000"/>
                  </a:schemeClr>
                </a:solidFill>
              </a:rPr>
              <a:t>33 magazzini</a:t>
            </a:r>
            <a:r>
              <a:rPr lang="it" sz="2000" b="0" i="0" u="none" baseline="0">
                <a:solidFill>
                  <a:schemeClr val="accent3">
                    <a:lumMod val="50000"/>
                  </a:schemeClr>
                </a:solidFill>
              </a:rPr>
              <a:t> </a:t>
            </a:r>
            <a:br>
              <a:rPr lang="it" sz="2000">
                <a:solidFill>
                  <a:schemeClr val="accent3">
                    <a:lumMod val="50000"/>
                  </a:schemeClr>
                </a:solidFill>
              </a:rPr>
            </a:br>
            <a:r>
              <a:rPr lang="it" sz="2000" b="0" i="0" u="none" baseline="0">
                <a:solidFill>
                  <a:schemeClr val="accent3">
                    <a:lumMod val="50000"/>
                  </a:schemeClr>
                </a:solidFill>
              </a:rPr>
              <a:t>con più di</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it" sz="2000" b="1" i="0" u="none" baseline="0">
                <a:solidFill>
                  <a:schemeClr val="accent3">
                    <a:lumMod val="50000"/>
                  </a:schemeClr>
                </a:solidFill>
              </a:rPr>
              <a:t>90.000 mq di spazio </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it" sz="2000" b="0" i="0" u="none" baseline="0">
                <a:solidFill>
                  <a:schemeClr val="accent3">
                    <a:lumMod val="50000"/>
                  </a:schemeClr>
                </a:solidFill>
              </a:rPr>
              <a:t>170.000 </a:t>
            </a:r>
            <a:br>
              <a:rPr lang="it" sz="2000">
                <a:solidFill>
                  <a:schemeClr val="accent3">
                    <a:lumMod val="50000"/>
                  </a:schemeClr>
                </a:solidFill>
              </a:rPr>
            </a:br>
            <a:r>
              <a:rPr lang="it" sz="2000" b="0" i="0" u="none" baseline="0">
                <a:solidFill>
                  <a:schemeClr val="accent3">
                    <a:lumMod val="50000"/>
                  </a:schemeClr>
                </a:solidFill>
              </a:rPr>
              <a:t> ricambi speciali</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65765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0F5F354C-CB9B-0C8C-BE52-4E1B4EBCC48D}"/>
              </a:ext>
            </a:extLst>
          </p:cNvPr>
          <p:cNvSpPr/>
          <p:nvPr/>
        </p:nvSpPr>
        <p:spPr>
          <a:xfrm>
            <a:off x="665401" y="4593243"/>
            <a:ext cx="11077019" cy="1008000"/>
          </a:xfrm>
          <a:prstGeom prst="roundRect">
            <a:avLst>
              <a:gd name="adj" fmla="val 11861"/>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tIns="45720" rIns="91440" bIns="45720" rtlCol="0" anchor="ctr"/>
          <a:lstStyle/>
          <a:p>
            <a:pPr>
              <a:defRPr/>
            </a:pPr>
            <a:r>
              <a:rPr kumimoji="0" lang="it-IT" sz="2200" b="1" i="0" u="none" strike="noStrike" kern="1200" cap="none" spc="0" normalizeH="0" baseline="0" noProof="0" dirty="0">
                <a:ln>
                  <a:noFill/>
                </a:ln>
                <a:solidFill>
                  <a:schemeClr val="accent3">
                    <a:lumMod val="50000"/>
                  </a:schemeClr>
                </a:solidFill>
                <a:effectLst/>
                <a:uLnTx/>
                <a:uFillTx/>
                <a:ea typeface="+mn-ea"/>
                <a:cs typeface="+mn-cs"/>
              </a:rPr>
              <a:t>Continuare a sfruttare le dimensioni, l'impronta e la nostra cultura per offrire valore ai clienti </a:t>
            </a:r>
            <a:r>
              <a:rPr kumimoji="0" lang="it-IT" sz="2200" b="1" i="0" u="sng" strike="noStrike" kern="1200" cap="none" spc="0" normalizeH="0" baseline="0" noProof="0" dirty="0">
                <a:ln>
                  <a:noFill/>
                </a:ln>
                <a:solidFill>
                  <a:schemeClr val="accent3">
                    <a:lumMod val="50000"/>
                  </a:schemeClr>
                </a:solidFill>
                <a:effectLst/>
                <a:uLnTx/>
                <a:uFillTx/>
                <a:ea typeface="+mn-ea"/>
                <a:cs typeface="+mn-cs"/>
              </a:rPr>
              <a:t>e</a:t>
            </a:r>
            <a:r>
              <a:rPr kumimoji="0" lang="it-IT" sz="2200" b="1" i="0" u="none" strike="noStrike" kern="1200" cap="none" spc="0" normalizeH="0" baseline="0" noProof="0" dirty="0">
                <a:ln>
                  <a:noFill/>
                </a:ln>
                <a:solidFill>
                  <a:schemeClr val="accent3">
                    <a:lumMod val="50000"/>
                  </a:schemeClr>
                </a:solidFill>
                <a:effectLst/>
                <a:uLnTx/>
                <a:uFillTx/>
                <a:ea typeface="+mn-ea"/>
                <a:cs typeface="+mn-cs"/>
              </a:rPr>
              <a:t> miglioramenti continui</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3" name="Rounded Rectangle 2">
            <a:extLst>
              <a:ext uri="{FF2B5EF4-FFF2-40B4-BE49-F238E27FC236}">
                <a16:creationId xmlns:a16="http://schemas.microsoft.com/office/drawing/2014/main" id="{ADD98B88-6EEC-D80D-3755-6862A04B6EE1}"/>
              </a:ext>
            </a:extLst>
          </p:cNvPr>
          <p:cNvSpPr/>
          <p:nvPr/>
        </p:nvSpPr>
        <p:spPr>
          <a:xfrm>
            <a:off x="665401" y="1230399"/>
            <a:ext cx="11077019" cy="1008000"/>
          </a:xfrm>
          <a:prstGeom prst="roundRect">
            <a:avLst>
              <a:gd name="adj" fmla="val 8978"/>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200" b="1" i="0" u="none" strike="noStrike" kern="1200" cap="none" spc="0" normalizeH="0" baseline="0" noProof="0" dirty="0">
                <a:ln>
                  <a:noFill/>
                </a:ln>
                <a:solidFill>
                  <a:schemeClr val="accent3">
                    <a:lumMod val="50000"/>
                  </a:schemeClr>
                </a:solidFill>
                <a:effectLst/>
                <a:uLnTx/>
                <a:uFillTx/>
                <a:ea typeface="+mn-ea"/>
                <a:cs typeface="+mn-cs"/>
              </a:rPr>
              <a:t>Leader globale, ben posizionato per una crescita composta della linea superiore e di quella inferiore</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6" name="Rounded Rectangle 5">
            <a:extLst>
              <a:ext uri="{FF2B5EF4-FFF2-40B4-BE49-F238E27FC236}">
                <a16:creationId xmlns:a16="http://schemas.microsoft.com/office/drawing/2014/main" id="{F87AE3AC-8F81-41CF-7F79-BB00EB7F7DC7}"/>
              </a:ext>
            </a:extLst>
          </p:cNvPr>
          <p:cNvSpPr/>
          <p:nvPr/>
        </p:nvSpPr>
        <p:spPr>
          <a:xfrm>
            <a:off x="665401" y="2351347"/>
            <a:ext cx="11077019" cy="1008000"/>
          </a:xfrm>
          <a:prstGeom prst="roundRect">
            <a:avLst>
              <a:gd name="adj" fmla="val 11861"/>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200" b="1" i="0" u="none" strike="noStrike" kern="1200" cap="none" spc="0" normalizeH="0" baseline="0" noProof="0" dirty="0">
                <a:ln>
                  <a:noFill/>
                </a:ln>
                <a:solidFill>
                  <a:schemeClr val="accent3">
                    <a:lumMod val="50000"/>
                  </a:schemeClr>
                </a:solidFill>
                <a:effectLst/>
                <a:uLnTx/>
                <a:uFillTx/>
                <a:ea typeface="+mn-ea"/>
                <a:cs typeface="+mn-cs"/>
              </a:rPr>
              <a:t>Forte spinta alla crescita nei mercati maturi e in via di sviluppo</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8" name="Rounded Rectangle 7">
            <a:extLst>
              <a:ext uri="{FF2B5EF4-FFF2-40B4-BE49-F238E27FC236}">
                <a16:creationId xmlns:a16="http://schemas.microsoft.com/office/drawing/2014/main" id="{CC8484FD-D1FA-0499-4294-9971BEEEBD57}"/>
              </a:ext>
            </a:extLst>
          </p:cNvPr>
          <p:cNvSpPr/>
          <p:nvPr/>
        </p:nvSpPr>
        <p:spPr>
          <a:xfrm>
            <a:off x="663691" y="3472295"/>
            <a:ext cx="11077019" cy="1008000"/>
          </a:xfrm>
          <a:prstGeom prst="roundRect">
            <a:avLst>
              <a:gd name="adj" fmla="val 8978"/>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200" b="1" i="0" u="none" strike="noStrike" kern="1200" cap="none" spc="0" normalizeH="0" baseline="0" noProof="0" dirty="0">
                <a:ln>
                  <a:noFill/>
                </a:ln>
                <a:solidFill>
                  <a:schemeClr val="accent3">
                    <a:lumMod val="50000"/>
                  </a:schemeClr>
                </a:solidFill>
                <a:effectLst/>
                <a:uLnTx/>
                <a:uFillTx/>
                <a:ea typeface="+mn-ea"/>
                <a:cs typeface="+mn-cs"/>
              </a:rPr>
              <a:t>Investire per rimanere all'avanguardia in termini di innovazione, digitalizzazione e impronta</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5" name="Title 4">
            <a:extLst>
              <a:ext uri="{FF2B5EF4-FFF2-40B4-BE49-F238E27FC236}">
                <a16:creationId xmlns:a16="http://schemas.microsoft.com/office/drawing/2014/main" id="{B88C6064-B366-246B-C85C-B8251FA9B8E1}"/>
              </a:ext>
            </a:extLst>
          </p:cNvPr>
          <p:cNvSpPr>
            <a:spLocks noGrp="1"/>
          </p:cNvSpPr>
          <p:nvPr>
            <p:ph type="title"/>
          </p:nvPr>
        </p:nvSpPr>
        <p:spPr>
          <a:xfrm>
            <a:off x="350518" y="180000"/>
            <a:ext cx="11841481" cy="640080"/>
          </a:xfrm>
        </p:spPr>
        <p:txBody>
          <a:bodyPr vert="horz" lIns="0" tIns="0" rIns="0" bIns="0" rtlCol="0" anchor="ctr">
            <a:normAutofit/>
          </a:bodyPr>
          <a:lstStyle/>
          <a:p>
            <a:pPr>
              <a:lnSpc>
                <a:spcPct val="100000"/>
              </a:lnSpc>
              <a:spcAft>
                <a:spcPts val="1200"/>
              </a:spcAft>
            </a:pPr>
            <a:r>
              <a:rPr lang="en-US" dirty="0">
                <a:solidFill>
                  <a:schemeClr val="bg2"/>
                </a:solidFill>
              </a:rPr>
              <a:t>In </a:t>
            </a:r>
            <a:r>
              <a:rPr lang="en-US" dirty="0" err="1">
                <a:solidFill>
                  <a:schemeClr val="bg2"/>
                </a:solidFill>
              </a:rPr>
              <a:t>sintesi</a:t>
            </a:r>
            <a:endParaRPr lang="en-US" dirty="0">
              <a:solidFill>
                <a:schemeClr val="bg2"/>
              </a:solidFill>
            </a:endParaRPr>
          </a:p>
        </p:txBody>
      </p:sp>
      <p:sp>
        <p:nvSpPr>
          <p:cNvPr id="4" name="Oval 3">
            <a:extLst>
              <a:ext uri="{FF2B5EF4-FFF2-40B4-BE49-F238E27FC236}">
                <a16:creationId xmlns:a16="http://schemas.microsoft.com/office/drawing/2014/main" id="{818C3AE3-4FCF-E338-302E-64A6D7E36420}"/>
              </a:ext>
            </a:extLst>
          </p:cNvPr>
          <p:cNvSpPr/>
          <p:nvPr/>
        </p:nvSpPr>
        <p:spPr>
          <a:xfrm>
            <a:off x="380187" y="1413641"/>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 name="Oval 8">
            <a:extLst>
              <a:ext uri="{FF2B5EF4-FFF2-40B4-BE49-F238E27FC236}">
                <a16:creationId xmlns:a16="http://schemas.microsoft.com/office/drawing/2014/main" id="{1EB728FA-5857-892C-4E79-EF236AC2CE27}"/>
              </a:ext>
            </a:extLst>
          </p:cNvPr>
          <p:cNvSpPr/>
          <p:nvPr/>
        </p:nvSpPr>
        <p:spPr>
          <a:xfrm>
            <a:off x="380187" y="2538093"/>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3" name="Oval 12">
            <a:extLst>
              <a:ext uri="{FF2B5EF4-FFF2-40B4-BE49-F238E27FC236}">
                <a16:creationId xmlns:a16="http://schemas.microsoft.com/office/drawing/2014/main" id="{6101897C-D588-C3D4-C069-D0526F18C300}"/>
              </a:ext>
            </a:extLst>
          </p:cNvPr>
          <p:cNvSpPr/>
          <p:nvPr/>
        </p:nvSpPr>
        <p:spPr>
          <a:xfrm>
            <a:off x="378477" y="3682438"/>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Oval 19">
            <a:extLst>
              <a:ext uri="{FF2B5EF4-FFF2-40B4-BE49-F238E27FC236}">
                <a16:creationId xmlns:a16="http://schemas.microsoft.com/office/drawing/2014/main" id="{44A3FF38-EEE9-B399-DF71-36662B13A6FF}"/>
              </a:ext>
            </a:extLst>
          </p:cNvPr>
          <p:cNvSpPr/>
          <p:nvPr/>
        </p:nvSpPr>
        <p:spPr>
          <a:xfrm>
            <a:off x="378477" y="4769577"/>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22" name="Graphic 21">
            <a:extLst>
              <a:ext uri="{FF2B5EF4-FFF2-40B4-BE49-F238E27FC236}">
                <a16:creationId xmlns:a16="http://schemas.microsoft.com/office/drawing/2014/main" id="{F747A467-F7BF-A9F5-0034-99AF663AF6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218" y="1516237"/>
            <a:ext cx="432000" cy="432000"/>
          </a:xfrm>
          <a:prstGeom prst="rect">
            <a:avLst/>
          </a:prstGeom>
        </p:spPr>
      </p:pic>
      <p:pic>
        <p:nvPicPr>
          <p:cNvPr id="26" name="Graphic 25">
            <a:extLst>
              <a:ext uri="{FF2B5EF4-FFF2-40B4-BE49-F238E27FC236}">
                <a16:creationId xmlns:a16="http://schemas.microsoft.com/office/drawing/2014/main" id="{28EDC044-756B-EF3A-3B65-A27F0ED9A3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9236" y="2640022"/>
            <a:ext cx="432000" cy="432000"/>
          </a:xfrm>
          <a:prstGeom prst="rect">
            <a:avLst/>
          </a:prstGeom>
        </p:spPr>
      </p:pic>
      <p:pic>
        <p:nvPicPr>
          <p:cNvPr id="28" name="Graphic 27">
            <a:extLst>
              <a:ext uri="{FF2B5EF4-FFF2-40B4-BE49-F238E27FC236}">
                <a16:creationId xmlns:a16="http://schemas.microsoft.com/office/drawing/2014/main" id="{2ADBFB05-47EF-E1E3-8ACB-5CE662144B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2517" y="3800602"/>
            <a:ext cx="432000" cy="432000"/>
          </a:xfrm>
          <a:prstGeom prst="rect">
            <a:avLst/>
          </a:prstGeom>
        </p:spPr>
      </p:pic>
      <p:pic>
        <p:nvPicPr>
          <p:cNvPr id="30" name="Graphic 29">
            <a:extLst>
              <a:ext uri="{FF2B5EF4-FFF2-40B4-BE49-F238E27FC236}">
                <a16:creationId xmlns:a16="http://schemas.microsoft.com/office/drawing/2014/main" id="{EEC05130-121A-324F-B672-E4C6AF4614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2517" y="4881243"/>
            <a:ext cx="432000" cy="432000"/>
          </a:xfrm>
          <a:prstGeom prst="rect">
            <a:avLst/>
          </a:prstGeom>
        </p:spPr>
      </p:pic>
      <p:sp>
        <p:nvSpPr>
          <p:cNvPr id="15" name="Slide Number Placeholder 5">
            <a:extLst>
              <a:ext uri="{FF2B5EF4-FFF2-40B4-BE49-F238E27FC236}">
                <a16:creationId xmlns:a16="http://schemas.microsoft.com/office/drawing/2014/main" id="{676799BE-54A3-4069-A17D-41AF17F312C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25608353-A1A2-84A1-71CB-2A65DF8527E3}"/>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2706483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8F300-5786-4C51-B4B4-08414457391B}"/>
              </a:ext>
            </a:extLst>
          </p:cNvPr>
          <p:cNvSpPr>
            <a:spLocks noGrp="1"/>
          </p:cNvSpPr>
          <p:nvPr>
            <p:ph type="title"/>
          </p:nvPr>
        </p:nvSpPr>
        <p:spPr>
          <a:xfrm>
            <a:off x="727165" y="823413"/>
            <a:ext cx="11746654" cy="1913255"/>
          </a:xfrm>
        </p:spPr>
        <p:txBody>
          <a:bodyPr/>
          <a:lstStyle/>
          <a:p>
            <a:r>
              <a:rPr lang="en-US" dirty="0"/>
              <a:t>Q&amp;A</a:t>
            </a:r>
          </a:p>
        </p:txBody>
      </p:sp>
    </p:spTree>
    <p:extLst>
      <p:ext uri="{BB962C8B-B14F-4D97-AF65-F5344CB8AC3E}">
        <p14:creationId xmlns:p14="http://schemas.microsoft.com/office/powerpoint/2010/main" val="968975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354294"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053667"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354294"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pPr algn="l" rtl="0"/>
            <a:r>
              <a:rPr lang="it" b="1" i="0" u="none" baseline="0"/>
              <a:t>55 Anni di Qualità: La Storia di Genie</a:t>
            </a:r>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350519"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69880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76239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0031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85338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0645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295951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1258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05050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65626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031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55013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0</a:t>
            </a:r>
            <a:endParaRPr kumimoji="0" lang="it"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13062"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13759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24373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03146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792533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1919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29680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19066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08453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697839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87226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76613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2016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539254"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491129"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428015"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364900"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324271"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276146"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20526"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73306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16490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54368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66995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0179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291179"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48056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05543"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0957418"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657299" y="3222050"/>
            <a:ext cx="1519915"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 sz="1200" b="1" i="0" u="none" strike="noStrike" kern="1200" cap="none" spc="0" normalizeH="0" baseline="0" dirty="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Genie è stata fondata </a:t>
            </a:r>
            <a:br>
              <a:rPr kumimoji="0" lang="it" sz="1200" b="1" u="none" strike="noStrike" kern="1200" cap="none" spc="0" normalizeH="0" baseline="0" dirty="0">
                <a:ln>
                  <a:noFill/>
                </a:ln>
                <a:solidFill>
                  <a:schemeClr val="accent3">
                    <a:lumMod val="50000"/>
                  </a:schemeClr>
                </a:solidFill>
                <a:effectLst/>
                <a:uLnTx/>
                <a:uFillTx/>
                <a:latin typeface="Arial" panose="020B0604020202020204" pitchFamily="34" charset="0"/>
                <a:cs typeface="Arial" panose="020B0604020202020204" pitchFamily="34" charset="0"/>
              </a:rPr>
            </a:br>
            <a:r>
              <a:rPr kumimoji="0" lang="it" sz="1200" b="1" i="0" u="none" strike="noStrike" kern="1200" cap="none" spc="0" normalizeH="0" baseline="0" dirty="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in un garage a Seattle da Bud Bushnell</a:t>
            </a: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78447" y="4208770"/>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651183"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it"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539254"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3933097"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13859"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it"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177347"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it"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La prima piattaforma a braccio Z di Genie innalza lo standard </a:t>
            </a:r>
            <a:br>
              <a:rPr lang="it" sz="1200" b="1">
                <a:solidFill>
                  <a:schemeClr val="accent3">
                    <a:lumMod val="50000"/>
                  </a:schemeClr>
                </a:solidFill>
                <a:latin typeface="Arial" panose="020B0604020202020204" pitchFamily="34" charset="0"/>
                <a:cs typeface="Arial" panose="020B0604020202020204" pitchFamily="34" charset="0"/>
              </a:rPr>
            </a:br>
            <a:r>
              <a:rPr lang="it"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del sollevamento offrendo anche lo scavalcamento </a:t>
            </a:r>
            <a:endParaRPr kumimoji="0" lang="it"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4974931" y="3839306"/>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164774"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493760"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it"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3966656" y="3222050"/>
            <a:ext cx="2321461"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it"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Concepita grazie al feedback dei clienti, Genie presenta la sua prima piattaforma a forbice</a:t>
            </a:r>
            <a:endParaRPr kumimoji="0" lang="it"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11977"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it" sz="2400" b="1" i="0" u="none" baseline="0">
                <a:solidFill>
                  <a:srgbClr val="D2171E"/>
                </a:solidFill>
                <a:latin typeface="Arial" panose="020B0604020202020204" pitchFamily="34" charset="0"/>
                <a:ea typeface="Arial" panose="020B0604020202020204" pitchFamily="34" charset="0"/>
                <a:cs typeface="Arial" panose="020B0604020202020204" pitchFamily="34" charset="0"/>
              </a:rPr>
              <a:t>2001</a:t>
            </a:r>
          </a:p>
        </p:txBody>
      </p:sp>
      <p:sp>
        <p:nvSpPr>
          <p:cNvPr id="174" name="Rectangle 173">
            <a:extLst>
              <a:ext uri="{FF2B5EF4-FFF2-40B4-BE49-F238E27FC236}">
                <a16:creationId xmlns:a16="http://schemas.microsoft.com/office/drawing/2014/main" id="{11F176D5-1138-FB4D-B984-BF5344610836}"/>
              </a:ext>
            </a:extLst>
          </p:cNvPr>
          <p:cNvSpPr/>
          <p:nvPr/>
        </p:nvSpPr>
        <p:spPr>
          <a:xfrm>
            <a:off x="5024706"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it"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Genie entra nel team Terex </a:t>
            </a:r>
            <a:br>
              <a:rPr lang="it" sz="1200" b="1">
                <a:solidFill>
                  <a:schemeClr val="accent3">
                    <a:lumMod val="50000"/>
                  </a:schemeClr>
                </a:solidFill>
                <a:latin typeface="Arial" panose="020B0604020202020204" pitchFamily="34" charset="0"/>
                <a:cs typeface="Arial" panose="020B0604020202020204" pitchFamily="34" charset="0"/>
              </a:rPr>
            </a:br>
            <a:r>
              <a:rPr lang="it"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attraverso l’acquisizione</a:t>
            </a:r>
            <a:endParaRPr kumimoji="0" lang="it"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255476" y="5605156"/>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350519"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772052"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860241"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49451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5</a:t>
            </a:r>
            <a:endParaRPr kumimoji="0" lang="it"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188927" y="4963021"/>
            <a:ext cx="3557021"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it"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Più che una semplice tag line o uno slogan di marketing, Genie introduce un cambiamento molto intenzionale per trasmettere al meglio la promessa del marchio ai suoi clienti - una promessa di fornire qualità in tutto ciò che fanno</a:t>
            </a:r>
            <a:endParaRPr kumimoji="0" lang="it"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00276"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350518"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763971" y="3222049"/>
            <a:ext cx="2959818"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l" rtl="0">
              <a:defRPr/>
            </a:pPr>
            <a:r>
              <a:rPr lang="it"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L’impegno di Genie per la qualità porta ad una crescita globale al punto che Genie diventa “ il  </a:t>
            </a:r>
            <a:br>
              <a:rPr lang="it" sz="1200" b="1" dirty="0">
                <a:solidFill>
                  <a:schemeClr val="accent3">
                    <a:lumMod val="50000"/>
                  </a:schemeClr>
                </a:solidFill>
                <a:latin typeface="Arial" panose="020B0604020202020204" pitchFamily="34" charset="0"/>
                <a:cs typeface="Arial" panose="020B0604020202020204" pitchFamily="34" charset="0"/>
              </a:rPr>
            </a:br>
            <a:r>
              <a:rPr lang="it"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 Miglior Produttore di Piattaforme aeree”</a:t>
            </a:r>
            <a:endParaRPr kumimoji="0" lang="it"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232385"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it"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763970"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it" sz="2400" b="1" i="0" u="none" baseline="0">
                <a:solidFill>
                  <a:schemeClr val="accent2"/>
                </a:solidFill>
                <a:latin typeface="Arial" panose="020B0604020202020204" pitchFamily="34" charset="0"/>
                <a:ea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641116"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2867"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46882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B0F57-66E2-43DB-31DD-359AADBE138C}"/>
              </a:ext>
            </a:extLst>
          </p:cNvPr>
          <p:cNvSpPr>
            <a:spLocks noGrp="1"/>
          </p:cNvSpPr>
          <p:nvPr>
            <p:ph type="title"/>
          </p:nvPr>
        </p:nvSpPr>
        <p:spPr/>
        <p:txBody>
          <a:bodyPr/>
          <a:lstStyle/>
          <a:p>
            <a:r>
              <a:rPr lang="it-IT" dirty="0"/>
              <a:t>Un'azienda affermata, un leader globale</a:t>
            </a:r>
            <a:endParaRPr lang="en-US" dirty="0"/>
          </a:p>
        </p:txBody>
      </p:sp>
      <p:sp>
        <p:nvSpPr>
          <p:cNvPr id="6" name="TextBox 5">
            <a:extLst>
              <a:ext uri="{FF2B5EF4-FFF2-40B4-BE49-F238E27FC236}">
                <a16:creationId xmlns:a16="http://schemas.microsoft.com/office/drawing/2014/main" id="{07E63D8E-C8A0-7DD1-D7B0-4ABA93FD74A8}"/>
              </a:ext>
            </a:extLst>
          </p:cNvPr>
          <p:cNvSpPr txBox="1"/>
          <p:nvPr/>
        </p:nvSpPr>
        <p:spPr>
          <a:xfrm>
            <a:off x="444718" y="4413389"/>
            <a:ext cx="3492000" cy="1331123"/>
          </a:xfrm>
          <a:prstGeom prst="round2SameRect">
            <a:avLst>
              <a:gd name="adj1" fmla="val 638"/>
              <a:gd name="adj2" fmla="val 7442"/>
            </a:avLst>
          </a:prstGeom>
          <a:solidFill>
            <a:schemeClr val="bg1">
              <a:lumMod val="95000"/>
            </a:schemeClr>
          </a:solidFill>
        </p:spPr>
        <p:txBody>
          <a:bodyPr wrap="square" lIns="0" tIns="0" rIns="0" b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400" b="1" i="0" u="none" strike="noStrike" cap="none" spc="0" normalizeH="0" baseline="0">
                <a:ln>
                  <a:noFill/>
                </a:ln>
                <a:solidFill>
                  <a:prstClr val="white"/>
                </a:solidFill>
                <a:effectLst/>
                <a:uLnTx/>
                <a:uFillTx/>
                <a:latin typeface="Century Gothic"/>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55 anni</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nell'industria</a:t>
            </a:r>
            <a:endPar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D756461-D107-903E-3F97-146F809DC165}"/>
              </a:ext>
            </a:extLst>
          </p:cNvPr>
          <p:cNvSpPr txBox="1"/>
          <p:nvPr/>
        </p:nvSpPr>
        <p:spPr>
          <a:xfrm>
            <a:off x="4249452" y="4413389"/>
            <a:ext cx="3491999" cy="1331123"/>
          </a:xfrm>
          <a:prstGeom prst="round2SameRect">
            <a:avLst>
              <a:gd name="adj1" fmla="val 0"/>
              <a:gd name="adj2" fmla="val 9159"/>
            </a:avLst>
          </a:prstGeom>
          <a:solidFill>
            <a:schemeClr val="bg1">
              <a:lumMod val="95000"/>
            </a:schemeClr>
          </a:solidFill>
        </p:spPr>
        <p:txBody>
          <a:bodyPr wrap="square" lIns="0" tIns="0" rIns="0" bIns="0" rtlCol="0" anchor="ctr" anchorCtr="0">
            <a:noAutofit/>
          </a:bodyPr>
          <a:lstStyle>
            <a:defPPr>
              <a:defRPr lang="en-US"/>
            </a:defPPr>
            <a:lvl1pPr algn="ctr">
              <a:defRPr b="1">
                <a:solidFill>
                  <a:schemeClr val="bg1"/>
                </a:solidFill>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err="1">
                <a:ln>
                  <a:noFill/>
                </a:ln>
                <a:solidFill>
                  <a:schemeClr val="bg2"/>
                </a:solidFill>
                <a:effectLst/>
                <a:uLnTx/>
                <a:uFillTx/>
                <a:latin typeface="Arial" panose="020B0604020202020204" pitchFamily="34" charset="0"/>
                <a:cs typeface="Arial" panose="020B0604020202020204" pitchFamily="34" charset="0"/>
              </a:rPr>
              <a:t>Posizione</a:t>
            </a: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 #1 o #2</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nella maggior parte dei mercati</a:t>
            </a:r>
            <a:endPar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C77C162-074E-FC22-43AD-A3BEC4EAC564}"/>
              </a:ext>
            </a:extLst>
          </p:cNvPr>
          <p:cNvSpPr txBox="1"/>
          <p:nvPr/>
        </p:nvSpPr>
        <p:spPr>
          <a:xfrm>
            <a:off x="8124735" y="4391126"/>
            <a:ext cx="3583687" cy="1331123"/>
          </a:xfrm>
          <a:prstGeom prst="round2SameRect">
            <a:avLst>
              <a:gd name="adj1" fmla="val 0"/>
              <a:gd name="adj2" fmla="val 8014"/>
            </a:avLst>
          </a:prstGeom>
          <a:solidFill>
            <a:schemeClr val="bg1">
              <a:lumMod val="95000"/>
            </a:schemeClr>
          </a:solidFill>
        </p:spPr>
        <p:txBody>
          <a:bodyPr wrap="square" lIns="0" tIns="0" rIns="0" bIns="0" rtlCol="0" anchor="ctr" anchorCtr="0">
            <a:noAutofit/>
          </a:bodyPr>
          <a:lstStyle>
            <a:defPPr>
              <a:defRPr lang="en-US"/>
            </a:defPPr>
            <a:lvl1pPr algn="ctr">
              <a:defRPr b="1">
                <a:solidFill>
                  <a:schemeClr val="bg1"/>
                </a:solidFill>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err="1">
                <a:ln>
                  <a:noFill/>
                </a:ln>
                <a:solidFill>
                  <a:schemeClr val="bg2"/>
                </a:solidFill>
                <a:effectLst/>
                <a:uLnTx/>
                <a:uFillTx/>
                <a:latin typeface="Arial" panose="020B0604020202020204" pitchFamily="34" charset="0"/>
                <a:cs typeface="Arial" panose="020B0604020202020204" pitchFamily="34" charset="0"/>
              </a:rPr>
              <a:t>Oltre</a:t>
            </a: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 100 </a:t>
            </a:r>
            <a:r>
              <a:rPr kumimoji="0" lang="en-US" sz="2800" b="1" i="0" u="none" strike="noStrike" kern="1200" cap="none" spc="0" normalizeH="0" baseline="0" noProof="0" dirty="0" err="1">
                <a:ln>
                  <a:noFill/>
                </a:ln>
                <a:solidFill>
                  <a:schemeClr val="bg2"/>
                </a:solidFill>
                <a:effectLst/>
                <a:uLnTx/>
                <a:uFillTx/>
                <a:latin typeface="Arial" panose="020B0604020202020204" pitchFamily="34" charset="0"/>
                <a:cs typeface="Arial" panose="020B0604020202020204" pitchFamily="34" charset="0"/>
              </a:rPr>
              <a:t>Paesi</a:t>
            </a:r>
            <a:endPar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mpronta</a:t>
            </a:r>
            <a:r>
              <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globale</a:t>
            </a:r>
            <a:r>
              <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e </a:t>
            </a: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ompetitiva</a:t>
            </a:r>
            <a:endPar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79DEF9E-57C1-7502-E4A4-4E57E8A7CEAA}"/>
              </a:ext>
            </a:extLst>
          </p:cNvPr>
          <p:cNvPicPr>
            <a:picLocks noChangeAspect="1"/>
          </p:cNvPicPr>
          <p:nvPr/>
        </p:nvPicPr>
        <p:blipFill rotWithShape="1">
          <a:blip r:embed="rId3"/>
          <a:srcRect l="3613" r="9523"/>
          <a:stretch/>
        </p:blipFill>
        <p:spPr>
          <a:xfrm>
            <a:off x="444718" y="1091226"/>
            <a:ext cx="3492000" cy="3322163"/>
          </a:xfrm>
          <a:prstGeom prst="round2SameRect">
            <a:avLst>
              <a:gd name="adj1" fmla="val 3593"/>
              <a:gd name="adj2" fmla="val 0"/>
            </a:avLst>
          </a:prstGeom>
        </p:spPr>
      </p:pic>
      <p:pic>
        <p:nvPicPr>
          <p:cNvPr id="10" name="Picture 9">
            <a:extLst>
              <a:ext uri="{FF2B5EF4-FFF2-40B4-BE49-F238E27FC236}">
                <a16:creationId xmlns:a16="http://schemas.microsoft.com/office/drawing/2014/main" id="{D7C99F82-880C-6AB1-C954-E44E43C5EC2D}"/>
              </a:ext>
            </a:extLst>
          </p:cNvPr>
          <p:cNvPicPr>
            <a:picLocks noChangeAspect="1"/>
          </p:cNvPicPr>
          <p:nvPr/>
        </p:nvPicPr>
        <p:blipFill rotWithShape="1">
          <a:blip r:embed="rId4"/>
          <a:srcRect l="1" t="11680" r="22851" b="226"/>
          <a:stretch/>
        </p:blipFill>
        <p:spPr>
          <a:xfrm>
            <a:off x="4249452" y="1091225"/>
            <a:ext cx="3491999" cy="3322800"/>
          </a:xfrm>
          <a:prstGeom prst="round2SameRect">
            <a:avLst>
              <a:gd name="adj1" fmla="val 3366"/>
              <a:gd name="adj2" fmla="val 0"/>
            </a:avLst>
          </a:prstGeom>
        </p:spPr>
      </p:pic>
      <p:grpSp>
        <p:nvGrpSpPr>
          <p:cNvPr id="18" name="Group 17">
            <a:extLst>
              <a:ext uri="{FF2B5EF4-FFF2-40B4-BE49-F238E27FC236}">
                <a16:creationId xmlns:a16="http://schemas.microsoft.com/office/drawing/2014/main" id="{53FDA6C0-E7E8-74CA-25A0-EBFD9BD609DE}"/>
              </a:ext>
            </a:extLst>
          </p:cNvPr>
          <p:cNvGrpSpPr/>
          <p:nvPr/>
        </p:nvGrpSpPr>
        <p:grpSpPr>
          <a:xfrm>
            <a:off x="8124735" y="1059542"/>
            <a:ext cx="3593032" cy="3354483"/>
            <a:chOff x="8151112" y="1201044"/>
            <a:chExt cx="3593032" cy="3354483"/>
          </a:xfrm>
        </p:grpSpPr>
        <p:pic>
          <p:nvPicPr>
            <p:cNvPr id="11" name="Picture 10">
              <a:extLst>
                <a:ext uri="{FF2B5EF4-FFF2-40B4-BE49-F238E27FC236}">
                  <a16:creationId xmlns:a16="http://schemas.microsoft.com/office/drawing/2014/main" id="{9DD830B1-1E03-CD36-E9FF-4AE86FE77C18}"/>
                </a:ext>
              </a:extLst>
            </p:cNvPr>
            <p:cNvPicPr>
              <a:picLocks noChangeAspect="1"/>
            </p:cNvPicPr>
            <p:nvPr/>
          </p:nvPicPr>
          <p:blipFill rotWithShape="1">
            <a:blip r:embed="rId5"/>
            <a:srcRect t="19531" b="554"/>
            <a:stretch/>
          </p:blipFill>
          <p:spPr>
            <a:xfrm>
              <a:off x="8151113" y="1201044"/>
              <a:ext cx="3593030" cy="1909528"/>
            </a:xfrm>
            <a:prstGeom prst="round2SameRect">
              <a:avLst>
                <a:gd name="adj1" fmla="val 5494"/>
                <a:gd name="adj2" fmla="val 0"/>
              </a:avLst>
            </a:prstGeom>
          </p:spPr>
        </p:pic>
        <p:pic>
          <p:nvPicPr>
            <p:cNvPr id="12" name="Picture 11">
              <a:extLst>
                <a:ext uri="{FF2B5EF4-FFF2-40B4-BE49-F238E27FC236}">
                  <a16:creationId xmlns:a16="http://schemas.microsoft.com/office/drawing/2014/main" id="{9CB51DD1-C469-91E1-DFC3-F8D3A3E8BA17}"/>
                </a:ext>
              </a:extLst>
            </p:cNvPr>
            <p:cNvPicPr>
              <a:picLocks noChangeAspect="1"/>
            </p:cNvPicPr>
            <p:nvPr/>
          </p:nvPicPr>
          <p:blipFill rotWithShape="1">
            <a:blip r:embed="rId6"/>
            <a:srcRect t="8298" b="1150"/>
            <a:stretch/>
          </p:blipFill>
          <p:spPr>
            <a:xfrm>
              <a:off x="8151112" y="2974654"/>
              <a:ext cx="2625602" cy="1580873"/>
            </a:xfrm>
            <a:prstGeom prst="rect">
              <a:avLst/>
            </a:prstGeom>
          </p:spPr>
        </p:pic>
        <p:pic>
          <p:nvPicPr>
            <p:cNvPr id="17" name="Picture 16">
              <a:extLst>
                <a:ext uri="{FF2B5EF4-FFF2-40B4-BE49-F238E27FC236}">
                  <a16:creationId xmlns:a16="http://schemas.microsoft.com/office/drawing/2014/main" id="{1A16863C-91DA-C0D3-8451-1B5511541F3F}"/>
                </a:ext>
              </a:extLst>
            </p:cNvPr>
            <p:cNvPicPr>
              <a:picLocks noChangeAspect="1"/>
            </p:cNvPicPr>
            <p:nvPr/>
          </p:nvPicPr>
          <p:blipFill>
            <a:blip r:embed="rId7"/>
            <a:stretch>
              <a:fillRect/>
            </a:stretch>
          </p:blipFill>
          <p:spPr>
            <a:xfrm>
              <a:off x="10779843" y="2974706"/>
              <a:ext cx="964301" cy="1580821"/>
            </a:xfrm>
            <a:prstGeom prst="rect">
              <a:avLst/>
            </a:prstGeom>
          </p:spPr>
        </p:pic>
      </p:grpSp>
      <p:sp>
        <p:nvSpPr>
          <p:cNvPr id="13" name="Slide Number Placeholder 5">
            <a:extLst>
              <a:ext uri="{FF2B5EF4-FFF2-40B4-BE49-F238E27FC236}">
                <a16:creationId xmlns:a16="http://schemas.microsoft.com/office/drawing/2014/main" id="{B12EB161-F63E-47F2-B5A4-5F492451D86A}"/>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78F84D6A-94C3-1431-B984-9F121E015735}"/>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4289886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ed Rectangle 40">
            <a:extLst>
              <a:ext uri="{FF2B5EF4-FFF2-40B4-BE49-F238E27FC236}">
                <a16:creationId xmlns:a16="http://schemas.microsoft.com/office/drawing/2014/main" id="{9C154729-8676-3EDD-5AED-6C2C8646B0C5}"/>
              </a:ext>
            </a:extLst>
          </p:cNvPr>
          <p:cNvSpPr/>
          <p:nvPr/>
        </p:nvSpPr>
        <p:spPr>
          <a:xfrm>
            <a:off x="4710294" y="3710604"/>
            <a:ext cx="7024505" cy="2080173"/>
          </a:xfrm>
          <a:prstGeom prst="roundRect">
            <a:avLst>
              <a:gd name="adj" fmla="val 4667"/>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38" name="Rounded Rectangle 37">
            <a:extLst>
              <a:ext uri="{FF2B5EF4-FFF2-40B4-BE49-F238E27FC236}">
                <a16:creationId xmlns:a16="http://schemas.microsoft.com/office/drawing/2014/main" id="{9195B3C5-DC0A-EE52-7D7E-84C6444137FF}"/>
              </a:ext>
            </a:extLst>
          </p:cNvPr>
          <p:cNvSpPr/>
          <p:nvPr/>
        </p:nvSpPr>
        <p:spPr>
          <a:xfrm>
            <a:off x="4710294" y="2483505"/>
            <a:ext cx="7024505" cy="1044000"/>
          </a:xfrm>
          <a:prstGeom prst="roundRect">
            <a:avLst>
              <a:gd name="adj" fmla="val 8754"/>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51795D1F-99A3-4728-80B8-E767E588BD1C}"/>
              </a:ext>
            </a:extLst>
          </p:cNvPr>
          <p:cNvSpPr>
            <a:spLocks noGrp="1"/>
          </p:cNvSpPr>
          <p:nvPr>
            <p:ph type="title"/>
          </p:nvPr>
        </p:nvSpPr>
        <p:spPr>
          <a:xfrm>
            <a:off x="350518" y="216000"/>
            <a:ext cx="11384281" cy="640080"/>
          </a:xfrm>
        </p:spPr>
        <p:txBody>
          <a:bodyPr lIns="0" tIns="0" rIns="0" bIns="0"/>
          <a:lstStyle/>
          <a:p>
            <a:r>
              <a:rPr lang="en-US" dirty="0"/>
              <a:t>La nostra </a:t>
            </a:r>
            <a:r>
              <a:rPr lang="en-US" dirty="0" err="1"/>
              <a:t>visione</a:t>
            </a:r>
            <a:endParaRPr lang="en-US" dirty="0"/>
          </a:p>
        </p:txBody>
      </p:sp>
      <p:sp>
        <p:nvSpPr>
          <p:cNvPr id="5" name="Rounded Rectangle 4">
            <a:extLst>
              <a:ext uri="{FF2B5EF4-FFF2-40B4-BE49-F238E27FC236}">
                <a16:creationId xmlns:a16="http://schemas.microsoft.com/office/drawing/2014/main" id="{CCE56716-A14C-4C79-B0E8-53E04D005806}"/>
              </a:ext>
            </a:extLst>
          </p:cNvPr>
          <p:cNvSpPr/>
          <p:nvPr/>
        </p:nvSpPr>
        <p:spPr>
          <a:xfrm>
            <a:off x="4710294" y="1317645"/>
            <a:ext cx="7024505" cy="972000"/>
          </a:xfrm>
          <a:prstGeom prst="roundRect">
            <a:avLst>
              <a:gd name="adj" fmla="val 8754"/>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Il marchio aereo leader, più redditizio, più ricercato e ammirato al mondo.</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26" name="Rounded Rectangle 25">
            <a:extLst>
              <a:ext uri="{FF2B5EF4-FFF2-40B4-BE49-F238E27FC236}">
                <a16:creationId xmlns:a16="http://schemas.microsoft.com/office/drawing/2014/main" id="{F4D9EF28-1469-4AC9-9805-6ED7C4E21995}"/>
              </a:ext>
            </a:extLst>
          </p:cNvPr>
          <p:cNvSpPr/>
          <p:nvPr/>
        </p:nvSpPr>
        <p:spPr>
          <a:xfrm>
            <a:off x="350518" y="1317647"/>
            <a:ext cx="3774845" cy="972000"/>
          </a:xfrm>
          <a:prstGeom prst="roundRect">
            <a:avLst>
              <a:gd name="adj" fmla="val 12079"/>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1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SPIRAZIONE</a:t>
            </a:r>
          </a:p>
        </p:txBody>
      </p:sp>
      <p:cxnSp>
        <p:nvCxnSpPr>
          <p:cNvPr id="35" name="Straight Connector 34">
            <a:extLst>
              <a:ext uri="{FF2B5EF4-FFF2-40B4-BE49-F238E27FC236}">
                <a16:creationId xmlns:a16="http://schemas.microsoft.com/office/drawing/2014/main" id="{FABB5E7A-AE82-47A1-A518-BB3C2E706679}"/>
              </a:ext>
            </a:extLst>
          </p:cNvPr>
          <p:cNvCxnSpPr>
            <a:cxnSpLocks/>
            <a:stCxn id="5" idx="1"/>
            <a:endCxn id="26" idx="3"/>
          </p:cNvCxnSpPr>
          <p:nvPr/>
        </p:nvCxnSpPr>
        <p:spPr>
          <a:xfrm flipH="1">
            <a:off x="4125363" y="1803645"/>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 name="Picture 2">
            <a:extLst>
              <a:ext uri="{FF2B5EF4-FFF2-40B4-BE49-F238E27FC236}">
                <a16:creationId xmlns:a16="http://schemas.microsoft.com/office/drawing/2014/main" id="{F2B11326-8AEC-47BC-8DE2-4434E45CF480}"/>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9921788" y="2573147"/>
            <a:ext cx="1548605" cy="880260"/>
          </a:xfrm>
          <a:prstGeom prst="rect">
            <a:avLst/>
          </a:prstGeom>
          <a:noFill/>
          <a:ln w="9525">
            <a:noFill/>
            <a:miter lim="800000"/>
            <a:headEnd/>
            <a:tailEnd/>
          </a:ln>
          <a:effectLst/>
        </p:spPr>
      </p:pic>
      <p:sp>
        <p:nvSpPr>
          <p:cNvPr id="15" name="TextBox 14">
            <a:extLst>
              <a:ext uri="{FF2B5EF4-FFF2-40B4-BE49-F238E27FC236}">
                <a16:creationId xmlns:a16="http://schemas.microsoft.com/office/drawing/2014/main" id="{B0999464-BA0F-4678-8FA1-D63D208DEA57}"/>
              </a:ext>
            </a:extLst>
          </p:cNvPr>
          <p:cNvSpPr txBox="1"/>
          <p:nvPr/>
        </p:nvSpPr>
        <p:spPr>
          <a:xfrm>
            <a:off x="6096000" y="2693284"/>
            <a:ext cx="1833049" cy="646331"/>
          </a:xfrm>
          <a:prstGeom prst="rect">
            <a:avLst/>
          </a:prstGeom>
          <a:noFill/>
          <a:ln w="6350">
            <a:noFill/>
          </a:ln>
        </p:spPr>
        <p:txBody>
          <a:bodyPr wrap="square" lIns="0" tIns="0" rIns="0" bIns="0" rtlCol="0">
            <a:noAutofit/>
          </a:bodyPr>
          <a:lstStyle/>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integrità</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Miglioramento</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Coraggio</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21826D59-1C10-4BBD-A9AB-878BC941D5C8}"/>
              </a:ext>
            </a:extLst>
          </p:cNvPr>
          <p:cNvSpPr txBox="1"/>
          <p:nvPr/>
        </p:nvSpPr>
        <p:spPr>
          <a:xfrm>
            <a:off x="7717962" y="2693284"/>
            <a:ext cx="2094508" cy="646331"/>
          </a:xfrm>
          <a:prstGeom prst="rect">
            <a:avLst/>
          </a:prstGeom>
          <a:noFill/>
          <a:ln w="6350">
            <a:noFill/>
          </a:ln>
        </p:spPr>
        <p:txBody>
          <a:bodyPr wrap="square" lIns="0" tIns="0" rIns="0" bIns="0" rtlCol="0">
            <a:noAutofit/>
          </a:bodyPr>
          <a:lstStyle/>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Il rispetto</a:t>
            </a: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eadership servile</a:t>
            </a: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Cittadinanza</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9A939945-29C9-4AA1-8951-049266D42566}"/>
              </a:ext>
            </a:extLst>
          </p:cNvPr>
          <p:cNvSpPr/>
          <p:nvPr/>
        </p:nvSpPr>
        <p:spPr>
          <a:xfrm>
            <a:off x="4885215" y="3813069"/>
            <a:ext cx="3322873" cy="18710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LIENTE</a:t>
            </a:r>
          </a:p>
          <a:p>
            <a:pPr marL="0" marR="0" lvl="0" indent="0" algn="l" defTabSz="914400" rtl="0" eaLnBrk="1" fontAlgn="auto" latinLnBrk="0" hangingPunct="1">
              <a:lnSpc>
                <a:spcPts val="1700"/>
              </a:lnSpc>
              <a:spcBef>
                <a:spcPts val="300"/>
              </a:spcBef>
              <a:spcAft>
                <a:spcPts val="1000"/>
              </a:spcAft>
              <a:buClrTx/>
              <a:buSzTx/>
              <a:buFontTx/>
              <a:buNone/>
              <a:tabLst/>
              <a:defRPr/>
            </a:pPr>
            <a:r>
              <a:rPr kumimoji="0" lang="en-U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r>
              <a:rPr kumimoji="0" lang="it-IT"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Crediamo che il cliente sia il centro del nostro mondo.</a:t>
            </a:r>
            <a:r>
              <a:rPr kumimoji="0" lang="en-U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it-IT"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Ci impegniamo per un successo condiviso</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it-IT"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Potete fidarvi di noi: ci presentiamo, seguiamo e risolviamo i problemi</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it-IT"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Siamo entusiasti, energici e determinati a guadagnarci il lavoro dei nostri clienti</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614E4688-7FF8-4153-B3DD-08EC4B29E9A2}"/>
              </a:ext>
            </a:extLst>
          </p:cNvPr>
          <p:cNvCxnSpPr>
            <a:cxnSpLocks/>
          </p:cNvCxnSpPr>
          <p:nvPr/>
        </p:nvCxnSpPr>
        <p:spPr>
          <a:xfrm>
            <a:off x="8208093" y="3710604"/>
            <a:ext cx="0" cy="208017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EFF38B03-4B3A-0779-2865-9B5E41BC60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0024" y="1405547"/>
            <a:ext cx="720000" cy="720000"/>
          </a:xfrm>
          <a:prstGeom prst="rect">
            <a:avLst/>
          </a:prstGeom>
        </p:spPr>
      </p:pic>
      <p:sp>
        <p:nvSpPr>
          <p:cNvPr id="8" name="Rounded Rectangle 7">
            <a:extLst>
              <a:ext uri="{FF2B5EF4-FFF2-40B4-BE49-F238E27FC236}">
                <a16:creationId xmlns:a16="http://schemas.microsoft.com/office/drawing/2014/main" id="{A13902C1-752C-A0AF-2E72-78AB92708B24}"/>
              </a:ext>
            </a:extLst>
          </p:cNvPr>
          <p:cNvSpPr/>
          <p:nvPr/>
        </p:nvSpPr>
        <p:spPr>
          <a:xfrm>
            <a:off x="350518" y="2478126"/>
            <a:ext cx="3774845" cy="1044000"/>
          </a:xfrm>
          <a:prstGeom prst="roundRect">
            <a:avLst>
              <a:gd name="adj" fmla="val 9065"/>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1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VALORI FONDAMENTALI</a:t>
            </a:r>
          </a:p>
        </p:txBody>
      </p:sp>
      <p:sp>
        <p:nvSpPr>
          <p:cNvPr id="9" name="Rounded Rectangle 8">
            <a:extLst>
              <a:ext uri="{FF2B5EF4-FFF2-40B4-BE49-F238E27FC236}">
                <a16:creationId xmlns:a16="http://schemas.microsoft.com/office/drawing/2014/main" id="{E2F7CF1B-D696-5796-ACA3-A3E87F32B263}"/>
              </a:ext>
            </a:extLst>
          </p:cNvPr>
          <p:cNvSpPr/>
          <p:nvPr/>
        </p:nvSpPr>
        <p:spPr>
          <a:xfrm>
            <a:off x="350518" y="3710605"/>
            <a:ext cx="3774845" cy="2080172"/>
          </a:xfrm>
          <a:prstGeom prst="roundRect">
            <a:avLst>
              <a:gd name="adj" fmla="val 4441"/>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1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L NOSTRO PATRIMONIO</a:t>
            </a:r>
          </a:p>
        </p:txBody>
      </p:sp>
      <p:pic>
        <p:nvPicPr>
          <p:cNvPr id="18" name="Graphic 17">
            <a:extLst>
              <a:ext uri="{FF2B5EF4-FFF2-40B4-BE49-F238E27FC236}">
                <a16:creationId xmlns:a16="http://schemas.microsoft.com/office/drawing/2014/main" id="{440D917B-7629-51FA-2EB7-FA6285DBC1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9544" y="4373344"/>
            <a:ext cx="720000" cy="720000"/>
          </a:xfrm>
          <a:prstGeom prst="rect">
            <a:avLst/>
          </a:prstGeom>
        </p:spPr>
      </p:pic>
      <p:pic>
        <p:nvPicPr>
          <p:cNvPr id="24" name="Graphic 23">
            <a:extLst>
              <a:ext uri="{FF2B5EF4-FFF2-40B4-BE49-F238E27FC236}">
                <a16:creationId xmlns:a16="http://schemas.microsoft.com/office/drawing/2014/main" id="{1FF1763F-BDAC-751B-B039-B1FC166E48E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9544" y="2623691"/>
            <a:ext cx="720000" cy="720000"/>
          </a:xfrm>
          <a:prstGeom prst="rect">
            <a:avLst/>
          </a:prstGeom>
        </p:spPr>
      </p:pic>
      <p:cxnSp>
        <p:nvCxnSpPr>
          <p:cNvPr id="39" name="Straight Connector 38">
            <a:extLst>
              <a:ext uri="{FF2B5EF4-FFF2-40B4-BE49-F238E27FC236}">
                <a16:creationId xmlns:a16="http://schemas.microsoft.com/office/drawing/2014/main" id="{29596C42-FED4-C4CC-2382-D8B67318E058}"/>
              </a:ext>
            </a:extLst>
          </p:cNvPr>
          <p:cNvCxnSpPr>
            <a:cxnSpLocks/>
          </p:cNvCxnSpPr>
          <p:nvPr/>
        </p:nvCxnSpPr>
        <p:spPr>
          <a:xfrm flipH="1">
            <a:off x="4125363" y="2977125"/>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0" name="Graphic 39">
            <a:extLst>
              <a:ext uri="{FF2B5EF4-FFF2-40B4-BE49-F238E27FC236}">
                <a16:creationId xmlns:a16="http://schemas.microsoft.com/office/drawing/2014/main" id="{20B64C53-D733-0AA9-3FB7-06276AD2D3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46175" y="2608451"/>
            <a:ext cx="820456" cy="820456"/>
          </a:xfrm>
          <a:prstGeom prst="rect">
            <a:avLst/>
          </a:prstGeom>
        </p:spPr>
      </p:pic>
      <p:cxnSp>
        <p:nvCxnSpPr>
          <p:cNvPr id="42" name="Straight Connector 41">
            <a:extLst>
              <a:ext uri="{FF2B5EF4-FFF2-40B4-BE49-F238E27FC236}">
                <a16:creationId xmlns:a16="http://schemas.microsoft.com/office/drawing/2014/main" id="{4029C022-545E-A4DE-9C50-89981B667394}"/>
              </a:ext>
            </a:extLst>
          </p:cNvPr>
          <p:cNvCxnSpPr>
            <a:cxnSpLocks/>
          </p:cNvCxnSpPr>
          <p:nvPr/>
        </p:nvCxnSpPr>
        <p:spPr>
          <a:xfrm flipH="1">
            <a:off x="4125363" y="4637870"/>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2DC0106-676B-1E44-3EB4-5E3F3D281DA7}"/>
              </a:ext>
            </a:extLst>
          </p:cNvPr>
          <p:cNvSpPr/>
          <p:nvPr/>
        </p:nvSpPr>
        <p:spPr>
          <a:xfrm>
            <a:off x="8383009" y="3813069"/>
            <a:ext cx="3351788" cy="18710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buClrTx/>
              <a:buSzTx/>
              <a:buFontTx/>
              <a:buNone/>
              <a:tabLst/>
              <a:defRPr/>
            </a:pPr>
            <a:r>
              <a:rPr kumimoji="0" lang="en-US" sz="14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MIGLIORAMENTO</a:t>
            </a:r>
          </a:p>
          <a:p>
            <a:pPr marL="0" marR="0" lvl="0" indent="0" algn="l" defTabSz="914400" rtl="0" eaLnBrk="1" fontAlgn="auto" latinLnBrk="0" hangingPunct="1">
              <a:lnSpc>
                <a:spcPct val="100000"/>
              </a:lnSpc>
              <a:spcBef>
                <a:spcPts val="0"/>
              </a:spcBef>
              <a:buClrTx/>
              <a:buSzTx/>
              <a:buFontTx/>
              <a:buNone/>
              <a:tabLst/>
              <a:defRPr/>
            </a:pPr>
            <a:r>
              <a:rPr kumimoji="0" lang="en-U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r>
              <a:rPr kumimoji="0" lang="it-IT"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Crediamo che l'educazione e il miglioramento definiscano il nostro futuro</a:t>
            </a:r>
            <a:r>
              <a:rPr kumimoji="0" lang="en-US" sz="15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it-IT"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ean basato sul rispetto e sull'impegno dei membri del team</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it-IT"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Crediamo che ogni processo possa essere migliorato</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it-IT"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Il Lean ci differenzia e aumenta il valore per i clienti</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22" name="Slide Number Placeholder 5">
            <a:extLst>
              <a:ext uri="{FF2B5EF4-FFF2-40B4-BE49-F238E27FC236}">
                <a16:creationId xmlns:a16="http://schemas.microsoft.com/office/drawing/2014/main" id="{2D4BFF98-8DBC-4C23-8A02-A95A8B2951F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231A74E4-94FA-6CA9-832A-28849B3C21D0}"/>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551233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1E2148E-A4FE-C634-AB57-0464BB0808FC}"/>
              </a:ext>
            </a:extLst>
          </p:cNvPr>
          <p:cNvSpPr/>
          <p:nvPr/>
        </p:nvSpPr>
        <p:spPr>
          <a:xfrm>
            <a:off x="8396868" y="1216138"/>
            <a:ext cx="3333473" cy="4349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3" name="Title 2">
            <a:extLst>
              <a:ext uri="{FF2B5EF4-FFF2-40B4-BE49-F238E27FC236}">
                <a16:creationId xmlns:a16="http://schemas.microsoft.com/office/drawing/2014/main" id="{0B2FB1D1-F8E0-AEE2-0A12-6E207DE385AF}"/>
              </a:ext>
            </a:extLst>
          </p:cNvPr>
          <p:cNvSpPr>
            <a:spLocks noGrp="1"/>
          </p:cNvSpPr>
          <p:nvPr>
            <p:ph type="title"/>
          </p:nvPr>
        </p:nvSpPr>
        <p:spPr>
          <a:xfrm>
            <a:off x="350518" y="180000"/>
            <a:ext cx="11841481" cy="640080"/>
          </a:xfrm>
        </p:spPr>
        <p:txBody>
          <a:bodyPr lIns="0" tIns="0" rIns="0" bIns="0"/>
          <a:lstStyle/>
          <a:p>
            <a:r>
              <a:rPr lang="en-US" dirty="0" err="1"/>
              <a:t>Mercati</a:t>
            </a:r>
            <a:r>
              <a:rPr lang="en-US" dirty="0"/>
              <a:t> </a:t>
            </a:r>
            <a:r>
              <a:rPr lang="en-US" dirty="0" err="1"/>
              <a:t>diversi</a:t>
            </a:r>
            <a:r>
              <a:rPr lang="en-US" dirty="0"/>
              <a:t> e </a:t>
            </a:r>
            <a:r>
              <a:rPr lang="en-US" dirty="0" err="1"/>
              <a:t>indirizzabili</a:t>
            </a:r>
            <a:endParaRPr lang="en-US" dirty="0"/>
          </a:p>
        </p:txBody>
      </p:sp>
      <p:sp>
        <p:nvSpPr>
          <p:cNvPr id="15" name="TextBox 14">
            <a:extLst>
              <a:ext uri="{FF2B5EF4-FFF2-40B4-BE49-F238E27FC236}">
                <a16:creationId xmlns:a16="http://schemas.microsoft.com/office/drawing/2014/main" id="{376925DB-E5EF-9C62-75ED-A9CE8318A867}"/>
              </a:ext>
            </a:extLst>
          </p:cNvPr>
          <p:cNvSpPr txBox="1"/>
          <p:nvPr/>
        </p:nvSpPr>
        <p:spPr>
          <a:xfrm>
            <a:off x="8587099" y="1107960"/>
            <a:ext cx="2985587"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SERVIRE LA FRONTIE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5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MERCATO INDIRIZZABILE</a:t>
            </a:r>
          </a:p>
        </p:txBody>
      </p:sp>
      <p:sp>
        <p:nvSpPr>
          <p:cNvPr id="42" name="TextBox 41">
            <a:extLst>
              <a:ext uri="{FF2B5EF4-FFF2-40B4-BE49-F238E27FC236}">
                <a16:creationId xmlns:a16="http://schemas.microsoft.com/office/drawing/2014/main" id="{1C2FC8E1-B7C7-49C5-B0F0-BEF3DE176008}"/>
              </a:ext>
            </a:extLst>
          </p:cNvPr>
          <p:cNvSpPr txBox="1"/>
          <p:nvPr/>
        </p:nvSpPr>
        <p:spPr>
          <a:xfrm>
            <a:off x="346055" y="5200977"/>
            <a:ext cx="3058555" cy="353997"/>
          </a:xfrm>
          <a:prstGeom prst="roundRect">
            <a:avLst/>
          </a:prstGeom>
          <a:solidFill>
            <a:schemeClr val="tx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Applicazioni</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di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costruzione</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630CD443-139E-4CC3-BF16-C59971E9F8E0}"/>
              </a:ext>
            </a:extLst>
          </p:cNvPr>
          <p:cNvSpPr txBox="1"/>
          <p:nvPr/>
        </p:nvSpPr>
        <p:spPr>
          <a:xfrm>
            <a:off x="3528799" y="5200982"/>
            <a:ext cx="4622165" cy="353997"/>
          </a:xfrm>
          <a:prstGeom prst="roundRect">
            <a:avLst/>
          </a:prstGeom>
          <a:solidFill>
            <a:schemeClr val="tx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Applicazioni</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non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edili</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Rounded Rectangle 16">
            <a:extLst>
              <a:ext uri="{FF2B5EF4-FFF2-40B4-BE49-F238E27FC236}">
                <a16:creationId xmlns:a16="http://schemas.microsoft.com/office/drawing/2014/main" id="{43C3AAF6-540F-5AC1-75F3-45EFDB9A91F7}"/>
              </a:ext>
            </a:extLst>
          </p:cNvPr>
          <p:cNvSpPr/>
          <p:nvPr/>
        </p:nvSpPr>
        <p:spPr>
          <a:xfrm>
            <a:off x="350518" y="1219198"/>
            <a:ext cx="1440000" cy="3895505"/>
          </a:xfrm>
          <a:prstGeom prst="roundRect">
            <a:avLst>
              <a:gd name="adj" fmla="val 4507"/>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2015999"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ostruzione</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20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6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Commerciale</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stituzioni</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Residenziale</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26" name="Straight Connector 25">
            <a:extLst>
              <a:ext uri="{FF2B5EF4-FFF2-40B4-BE49-F238E27FC236}">
                <a16:creationId xmlns:a16="http://schemas.microsoft.com/office/drawing/2014/main" id="{BE2C6FA8-17B9-8C03-9382-0D254C50BE88}"/>
              </a:ext>
            </a:extLst>
          </p:cNvPr>
          <p:cNvCxnSpPr>
            <a:cxnSpLocks/>
          </p:cNvCxnSpPr>
          <p:nvPr/>
        </p:nvCxnSpPr>
        <p:spPr>
          <a:xfrm flipH="1">
            <a:off x="444890"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FFBA7BCD-3151-991D-61B0-185C2FE7BC39}"/>
              </a:ext>
            </a:extLst>
          </p:cNvPr>
          <p:cNvSpPr/>
          <p:nvPr/>
        </p:nvSpPr>
        <p:spPr>
          <a:xfrm>
            <a:off x="1953176" y="1219198"/>
            <a:ext cx="1440000" cy="3895505"/>
          </a:xfrm>
          <a:prstGeom prst="roundRect">
            <a:avLst>
              <a:gd name="adj" fmla="val 4507"/>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Governo</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e </a:t>
            </a: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frastrutture</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2B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Servizi di pubblica utilità</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Centri dati</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Settore militare</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4D50E5F7-4DD6-17B5-8070-03B43AF953E3}"/>
              </a:ext>
            </a:extLst>
          </p:cNvPr>
          <p:cNvCxnSpPr>
            <a:cxnSpLocks/>
          </p:cNvCxnSpPr>
          <p:nvPr/>
        </p:nvCxnSpPr>
        <p:spPr>
          <a:xfrm flipH="1">
            <a:off x="2047548"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2" name="Rounded Rectangle 31">
            <a:extLst>
              <a:ext uri="{FF2B5EF4-FFF2-40B4-BE49-F238E27FC236}">
                <a16:creationId xmlns:a16="http://schemas.microsoft.com/office/drawing/2014/main" id="{B238862B-E317-9D27-2327-2B957D732444}"/>
              </a:ext>
            </a:extLst>
          </p:cNvPr>
          <p:cNvSpPr/>
          <p:nvPr/>
        </p:nvSpPr>
        <p:spPr>
          <a:xfrm>
            <a:off x="3526337" y="1219198"/>
            <a:ext cx="1440000" cy="3895505"/>
          </a:xfrm>
          <a:prstGeom prst="roundRect">
            <a:avLst>
              <a:gd name="adj" fmla="val 3156"/>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dustria</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e </a:t>
            </a: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produzione</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3B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anutenzione</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ontrollo</a:t>
            </a: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del </a:t>
            </a: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processo</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Operazioni</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CEB4EF88-ED09-491B-1FD2-D2B33E5B6CED}"/>
              </a:ext>
            </a:extLst>
          </p:cNvPr>
          <p:cNvCxnSpPr>
            <a:cxnSpLocks/>
          </p:cNvCxnSpPr>
          <p:nvPr/>
        </p:nvCxnSpPr>
        <p:spPr>
          <a:xfrm flipH="1">
            <a:off x="3620709"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4" name="Rounded Rectangle 33">
            <a:extLst>
              <a:ext uri="{FF2B5EF4-FFF2-40B4-BE49-F238E27FC236}">
                <a16:creationId xmlns:a16="http://schemas.microsoft.com/office/drawing/2014/main" id="{FF7AC6B6-70EC-508E-29B7-3E28FCA59196}"/>
              </a:ext>
            </a:extLst>
          </p:cNvPr>
          <p:cNvSpPr/>
          <p:nvPr/>
        </p:nvSpPr>
        <p:spPr>
          <a:xfrm>
            <a:off x="6715860" y="1219198"/>
            <a:ext cx="1440000" cy="3895505"/>
          </a:xfrm>
          <a:prstGeom prst="roundRect">
            <a:avLst>
              <a:gd name="adj" fmla="val 2481"/>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ercati</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t>
            </a: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emergenti</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trattenimento</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Eventi</a:t>
            </a: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e </a:t>
            </a: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anifestazioni</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Distribuzione</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44" name="Straight Connector 43">
            <a:extLst>
              <a:ext uri="{FF2B5EF4-FFF2-40B4-BE49-F238E27FC236}">
                <a16:creationId xmlns:a16="http://schemas.microsoft.com/office/drawing/2014/main" id="{B351882C-F7DF-876C-D221-58169073AB09}"/>
              </a:ext>
            </a:extLst>
          </p:cNvPr>
          <p:cNvCxnSpPr>
            <a:cxnSpLocks/>
          </p:cNvCxnSpPr>
          <p:nvPr/>
        </p:nvCxnSpPr>
        <p:spPr>
          <a:xfrm flipH="1">
            <a:off x="6810232"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45" name="Rounded Rectangle 44">
            <a:extLst>
              <a:ext uri="{FF2B5EF4-FFF2-40B4-BE49-F238E27FC236}">
                <a16:creationId xmlns:a16="http://schemas.microsoft.com/office/drawing/2014/main" id="{6B212B32-F925-3865-8FEA-C745295FB7A4}"/>
              </a:ext>
            </a:extLst>
          </p:cNvPr>
          <p:cNvSpPr/>
          <p:nvPr/>
        </p:nvSpPr>
        <p:spPr>
          <a:xfrm>
            <a:off x="5119163" y="1219198"/>
            <a:ext cx="1440000" cy="3895505"/>
          </a:xfrm>
          <a:prstGeom prst="roundRect">
            <a:avLst>
              <a:gd name="adj" fmla="val 6534"/>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2015999"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Agricoltura</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20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2B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05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Manipolazione del materiale</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05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Preparazione delle superfici</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05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Lavorazione</a:t>
            </a:r>
            <a:endParaRPr kumimoji="0" lang="en-US" sz="105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52" name="Straight Connector 51">
            <a:extLst>
              <a:ext uri="{FF2B5EF4-FFF2-40B4-BE49-F238E27FC236}">
                <a16:creationId xmlns:a16="http://schemas.microsoft.com/office/drawing/2014/main" id="{A0631174-2D2C-C971-37C9-CA301B09F560}"/>
              </a:ext>
            </a:extLst>
          </p:cNvPr>
          <p:cNvCxnSpPr>
            <a:cxnSpLocks/>
          </p:cNvCxnSpPr>
          <p:nvPr/>
        </p:nvCxnSpPr>
        <p:spPr>
          <a:xfrm flipH="1">
            <a:off x="5213535"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pic>
        <p:nvPicPr>
          <p:cNvPr id="37" name="Picture 36">
            <a:extLst>
              <a:ext uri="{FF2B5EF4-FFF2-40B4-BE49-F238E27FC236}">
                <a16:creationId xmlns:a16="http://schemas.microsoft.com/office/drawing/2014/main" id="{A2C1168B-2FA3-4A30-B301-666BB3ED872E}"/>
              </a:ext>
            </a:extLst>
          </p:cNvPr>
          <p:cNvPicPr>
            <a:picLocks noChangeAspect="1"/>
          </p:cNvPicPr>
          <p:nvPr/>
        </p:nvPicPr>
        <p:blipFill rotWithShape="1">
          <a:blip r:embed="rId3"/>
          <a:srcRect l="-142" r="142" b="5319"/>
          <a:stretch/>
        </p:blipFill>
        <p:spPr>
          <a:xfrm>
            <a:off x="350518" y="1219199"/>
            <a:ext cx="1440000" cy="1843463"/>
          </a:xfrm>
          <a:prstGeom prst="round2SameRect">
            <a:avLst>
              <a:gd name="adj1" fmla="val 7210"/>
              <a:gd name="adj2" fmla="val 0"/>
            </a:avLst>
          </a:prstGeom>
        </p:spPr>
      </p:pic>
      <p:pic>
        <p:nvPicPr>
          <p:cNvPr id="39" name="Picture 38">
            <a:extLst>
              <a:ext uri="{FF2B5EF4-FFF2-40B4-BE49-F238E27FC236}">
                <a16:creationId xmlns:a16="http://schemas.microsoft.com/office/drawing/2014/main" id="{ED3C3D24-5C1C-4DCF-BA58-F063F1CDBD85}"/>
              </a:ext>
            </a:extLst>
          </p:cNvPr>
          <p:cNvPicPr>
            <a:picLocks/>
          </p:cNvPicPr>
          <p:nvPr/>
        </p:nvPicPr>
        <p:blipFill rotWithShape="1">
          <a:blip r:embed="rId4"/>
          <a:srcRect l="13178" t="1012" r="3166" b="1012"/>
          <a:stretch/>
        </p:blipFill>
        <p:spPr>
          <a:xfrm>
            <a:off x="3529323" y="1205505"/>
            <a:ext cx="1440000" cy="1843200"/>
          </a:xfrm>
          <a:prstGeom prst="round2SameRect">
            <a:avLst>
              <a:gd name="adj1" fmla="val 5858"/>
              <a:gd name="adj2" fmla="val 0"/>
            </a:avLst>
          </a:prstGeom>
        </p:spPr>
      </p:pic>
      <p:pic>
        <p:nvPicPr>
          <p:cNvPr id="14" name="Picture 13">
            <a:extLst>
              <a:ext uri="{FF2B5EF4-FFF2-40B4-BE49-F238E27FC236}">
                <a16:creationId xmlns:a16="http://schemas.microsoft.com/office/drawing/2014/main" id="{32D3E767-D535-5740-DEA7-524242870F1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565" t="1" r="29568" b="1395"/>
          <a:stretch/>
        </p:blipFill>
        <p:spPr>
          <a:xfrm>
            <a:off x="1951428" y="1219200"/>
            <a:ext cx="1440000" cy="1843200"/>
          </a:xfrm>
          <a:prstGeom prst="round2SameRect">
            <a:avLst>
              <a:gd name="adj1" fmla="val 5858"/>
              <a:gd name="adj2" fmla="val 0"/>
            </a:avLst>
          </a:prstGeom>
        </p:spPr>
      </p:pic>
      <p:pic>
        <p:nvPicPr>
          <p:cNvPr id="60" name="Picture 59">
            <a:extLst>
              <a:ext uri="{FF2B5EF4-FFF2-40B4-BE49-F238E27FC236}">
                <a16:creationId xmlns:a16="http://schemas.microsoft.com/office/drawing/2014/main" id="{EE4CC347-5F24-A3AE-F01B-73B9237E520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15860" y="1201875"/>
            <a:ext cx="1435104" cy="1828111"/>
          </a:xfrm>
          <a:prstGeom prst="round2SameRect">
            <a:avLst>
              <a:gd name="adj1" fmla="val 5822"/>
              <a:gd name="adj2" fmla="val 0"/>
            </a:avLst>
          </a:prstGeom>
        </p:spPr>
      </p:pic>
      <p:sp>
        <p:nvSpPr>
          <p:cNvPr id="8" name="Rectangle 7">
            <a:extLst>
              <a:ext uri="{FF2B5EF4-FFF2-40B4-BE49-F238E27FC236}">
                <a16:creationId xmlns:a16="http://schemas.microsoft.com/office/drawing/2014/main" id="{33238DE1-C63F-C83A-6E56-9A38FC255790}"/>
              </a:ext>
            </a:extLst>
          </p:cNvPr>
          <p:cNvSpPr/>
          <p:nvPr/>
        </p:nvSpPr>
        <p:spPr>
          <a:xfrm>
            <a:off x="8587100" y="2870915"/>
            <a:ext cx="286176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Aggiunta</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di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nuovi</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mercati</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9" name="Rectangle 8">
            <a:extLst>
              <a:ext uri="{FF2B5EF4-FFF2-40B4-BE49-F238E27FC236}">
                <a16:creationId xmlns:a16="http://schemas.microsoft.com/office/drawing/2014/main" id="{B0BFAA5E-F6B6-7355-5513-FF4D77E44345}"/>
              </a:ext>
            </a:extLst>
          </p:cNvPr>
          <p:cNvSpPr/>
          <p:nvPr/>
        </p:nvSpPr>
        <p:spPr>
          <a:xfrm>
            <a:off x="8587100" y="3388981"/>
            <a:ext cx="286176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Tendenze</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mega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favorevoli</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12" name="Rectangle 11">
            <a:extLst>
              <a:ext uri="{FF2B5EF4-FFF2-40B4-BE49-F238E27FC236}">
                <a16:creationId xmlns:a16="http://schemas.microsoft.com/office/drawing/2014/main" id="{5FE9381A-A876-FFCF-053B-D018C8732A7D}"/>
              </a:ext>
            </a:extLst>
          </p:cNvPr>
          <p:cNvSpPr/>
          <p:nvPr/>
        </p:nvSpPr>
        <p:spPr>
          <a:xfrm>
            <a:off x="8608365" y="3982092"/>
            <a:ext cx="296432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Clienti</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diversi</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amp;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applicazioni</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4" name="TextBox 3">
            <a:extLst>
              <a:ext uri="{FF2B5EF4-FFF2-40B4-BE49-F238E27FC236}">
                <a16:creationId xmlns:a16="http://schemas.microsoft.com/office/drawing/2014/main" id="{099642B8-43CC-3C70-800F-BA14297310B2}"/>
              </a:ext>
            </a:extLst>
          </p:cNvPr>
          <p:cNvSpPr txBox="1"/>
          <p:nvPr/>
        </p:nvSpPr>
        <p:spPr>
          <a:xfrm>
            <a:off x="8682800" y="4773764"/>
            <a:ext cx="2964321" cy="75202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Opportunità di ricambi e assistenza</a:t>
            </a:r>
            <a:endParaRPr kumimoji="0" lang="en-US" sz="13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DAF10BAB-07E5-F520-C2FD-132125489E5E}"/>
              </a:ext>
            </a:extLst>
          </p:cNvPr>
          <p:cNvCxnSpPr>
            <a:cxnSpLocks/>
          </p:cNvCxnSpPr>
          <p:nvPr/>
        </p:nvCxnSpPr>
        <p:spPr>
          <a:xfrm flipH="1">
            <a:off x="8682801" y="3303242"/>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ED44100-B661-C6BE-7C25-52ECA35292EE}"/>
              </a:ext>
            </a:extLst>
          </p:cNvPr>
          <p:cNvCxnSpPr>
            <a:cxnSpLocks/>
          </p:cNvCxnSpPr>
          <p:nvPr/>
        </p:nvCxnSpPr>
        <p:spPr>
          <a:xfrm flipH="1">
            <a:off x="8682801" y="3807406"/>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9505D00-AA48-D09B-DF44-2C9EB946D73C}"/>
              </a:ext>
            </a:extLst>
          </p:cNvPr>
          <p:cNvCxnSpPr>
            <a:cxnSpLocks/>
          </p:cNvCxnSpPr>
          <p:nvPr/>
        </p:nvCxnSpPr>
        <p:spPr>
          <a:xfrm flipH="1">
            <a:off x="8682801" y="4484470"/>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pic>
        <p:nvPicPr>
          <p:cNvPr id="5" name="Picture 4" descr="A picture containing grass, outdoor, sky, truck&#10;&#10;Description automatically generated">
            <a:extLst>
              <a:ext uri="{FF2B5EF4-FFF2-40B4-BE49-F238E27FC236}">
                <a16:creationId xmlns:a16="http://schemas.microsoft.com/office/drawing/2014/main" id="{5C30D17C-A134-4D52-8EFB-D1DCAA9F761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3596" b="6843"/>
          <a:stretch/>
        </p:blipFill>
        <p:spPr>
          <a:xfrm>
            <a:off x="5124058" y="1201875"/>
            <a:ext cx="1435105" cy="1860525"/>
          </a:xfrm>
          <a:prstGeom prst="round2SameRect">
            <a:avLst>
              <a:gd name="adj1" fmla="val 6499"/>
              <a:gd name="adj2" fmla="val 0"/>
            </a:avLst>
          </a:prstGeom>
        </p:spPr>
      </p:pic>
      <p:sp>
        <p:nvSpPr>
          <p:cNvPr id="29" name="Slide Number Placeholder 5">
            <a:extLst>
              <a:ext uri="{FF2B5EF4-FFF2-40B4-BE49-F238E27FC236}">
                <a16:creationId xmlns:a16="http://schemas.microsoft.com/office/drawing/2014/main" id="{E2FB4136-341E-452E-8436-E37A1220D0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6FD6F744-AE6E-6EA4-16AA-AEC97E3E59BD}"/>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623616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it" b="1" i="0" u="none" baseline="0"/>
              <a:t>Gamma Prodotti</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MODELLI</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MACCHINE ALL’ANNO</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UNITA’ AL GIORNO</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dirty="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PRODUZIONE</a:t>
            </a:r>
            <a:br>
              <a:rPr lang="it" sz="1400" spc="100">
                <a:latin typeface="Arial" panose="020B0604020202020204" pitchFamily="34" charset="0"/>
                <a:cs typeface="Arial" panose="020B0604020202020204" pitchFamily="34" charset="0"/>
              </a:rPr>
            </a:br>
            <a:r>
              <a:rPr lang="it" sz="1400" b="1" i="0" u="none" spc="100" baseline="0">
                <a:latin typeface="Arial" panose="020B0604020202020204" pitchFamily="34" charset="0"/>
                <a:ea typeface="Arial" panose="020B0604020202020204" pitchFamily="34" charset="0"/>
                <a:cs typeface="Arial" panose="020B0604020202020204" pitchFamily="34" charset="0"/>
              </a:rPr>
              <a:t>GLOBALE</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accent2"/>
          </a:solidFill>
        </p:spPr>
        <p:txBody>
          <a:bodyPr wrap="square" lIns="0" tIns="0" rIns="0" bIns="0" rtlCol="0" anchor="ctr" anchorCtr="0">
            <a:noAutofit/>
          </a:bodyPr>
          <a:lstStyle/>
          <a:p>
            <a:pPr algn="ctr" rtl="0"/>
            <a:r>
              <a:rPr lang="it" sz="6600" b="0" i="0" u="none" baseline="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a:solidFill>
                  <a:schemeClr val="bg2"/>
                </a:solidFill>
              </a:rPr>
              <a:t>Sollevatori di Materiali</a:t>
            </a:r>
            <a:endParaRPr lang="it" b="1" dirty="0">
              <a:solidFill>
                <a:schemeClr val="accent3">
                  <a:lumMod val="50000"/>
                </a:schemeClr>
              </a:solidFill>
            </a:endParaRPr>
          </a:p>
          <a:p>
            <a:pPr algn="l" rtl="0">
              <a:spcAft>
                <a:spcPts val="1200"/>
              </a:spcAft>
            </a:pPr>
            <a:r>
              <a:rPr lang="it" sz="1400" b="0" i="0" u="none" baseline="0">
                <a:solidFill>
                  <a:schemeClr val="accent3">
                    <a:lumMod val="50000"/>
                  </a:schemeClr>
                </a:solidFill>
              </a:rPr>
              <a:t>Compatti, leggeri  </a:t>
            </a:r>
            <a:br>
              <a:rPr lang="it" sz="1400">
                <a:solidFill>
                  <a:schemeClr val="accent3">
                    <a:lumMod val="50000"/>
                  </a:schemeClr>
                </a:solidFill>
              </a:rPr>
            </a:br>
            <a:r>
              <a:rPr lang="it" sz="1400" b="0" i="0" u="none" baseline="0">
                <a:solidFill>
                  <a:schemeClr val="accent3">
                    <a:lumMod val="50000"/>
                  </a:schemeClr>
                </a:solidFill>
              </a:rPr>
              <a:t>e facili da trasportare</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a:solidFill>
                  <a:schemeClr val="bg2"/>
                </a:solidFill>
              </a:rPr>
              <a:t>Sollevatori di Persone</a:t>
            </a:r>
            <a:endParaRPr lang="it" b="1">
              <a:solidFill>
                <a:schemeClr val="accent3">
                  <a:lumMod val="50000"/>
                </a:schemeClr>
              </a:solidFill>
            </a:endParaRPr>
          </a:p>
          <a:p>
            <a:pPr algn="l" rtl="0"/>
            <a:r>
              <a:rPr lang="it" sz="1400" b="0" i="0" u="none" baseline="0">
                <a:solidFill>
                  <a:schemeClr val="accent3">
                    <a:lumMod val="50000"/>
                  </a:schemeClr>
                </a:solidFill>
              </a:rPr>
              <a:t>Convenienti e </a:t>
            </a:r>
            <a:br>
              <a:rPr lang="it" sz="1400">
                <a:solidFill>
                  <a:schemeClr val="accent3">
                    <a:lumMod val="50000"/>
                  </a:schemeClr>
                </a:solidFill>
              </a:rPr>
            </a:br>
            <a:r>
              <a:rPr lang="it" sz="1400" b="0" i="0" u="none" baseline="0">
                <a:solidFill>
                  <a:schemeClr val="accent3">
                    <a:lumMod val="50000"/>
                  </a:schemeClr>
                </a:solidFill>
              </a:rPr>
              <a:t>ad alto rendimento</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a:solidFill>
                  <a:schemeClr val="bg2"/>
                </a:solidFill>
              </a:rPr>
              <a:t>Piattaforme a Forbice</a:t>
            </a:r>
            <a:endParaRPr lang="it" b="1">
              <a:solidFill>
                <a:schemeClr val="accent3">
                  <a:lumMod val="50000"/>
                </a:schemeClr>
              </a:solidFill>
            </a:endParaRPr>
          </a:p>
          <a:p>
            <a:pPr algn="l" rtl="0"/>
            <a:r>
              <a:rPr lang="it" sz="1400" b="0" i="0" u="none" baseline="0">
                <a:solidFill>
                  <a:schemeClr val="accent3">
                    <a:lumMod val="50000"/>
                  </a:schemeClr>
                </a:solidFill>
              </a:rPr>
              <a:t>Alta efficienza, facilità di manovra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224266"/>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dirty="0">
                <a:solidFill>
                  <a:schemeClr val="bg2"/>
                </a:solidFill>
              </a:rPr>
              <a:t>Piattaforme a Braccio Telescopico</a:t>
            </a:r>
            <a:endParaRPr lang="it" b="1" dirty="0">
              <a:solidFill>
                <a:schemeClr val="accent3">
                  <a:lumMod val="50000"/>
                </a:schemeClr>
              </a:solidFill>
            </a:endParaRPr>
          </a:p>
          <a:p>
            <a:pPr algn="l" rtl="0"/>
            <a:r>
              <a:rPr lang="it" sz="1400" b="0" i="0" u="none" baseline="0" dirty="0">
                <a:solidFill>
                  <a:schemeClr val="accent3">
                    <a:lumMod val="50000"/>
                  </a:schemeClr>
                </a:solidFill>
              </a:rPr>
              <a:t>Maggior sbraccio orizzontale con posizionamento preciso</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224266"/>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sz="1600" b="1" i="0" u="none" baseline="0" dirty="0">
                <a:solidFill>
                  <a:schemeClr val="bg2"/>
                </a:solidFill>
              </a:rPr>
              <a:t>Piattaforme a Braccio Articolato</a:t>
            </a:r>
            <a:endParaRPr lang="it" sz="1600" b="1" dirty="0">
              <a:solidFill>
                <a:schemeClr val="accent3">
                  <a:lumMod val="50000"/>
                </a:schemeClr>
              </a:solidFill>
            </a:endParaRPr>
          </a:p>
          <a:p>
            <a:pPr algn="l" rtl="0"/>
            <a:r>
              <a:rPr lang="it" sz="1200" b="0" i="0" u="none" baseline="0" dirty="0">
                <a:solidFill>
                  <a:schemeClr val="accent3">
                    <a:lumMod val="50000"/>
                  </a:schemeClr>
                </a:solidFill>
              </a:rPr>
              <a:t>Impressionante altezza di lavoro e capacità di scavalcamento per cantieri difficilmente accessibili</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224266"/>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dirty="0">
                <a:solidFill>
                  <a:schemeClr val="bg2"/>
                </a:solidFill>
              </a:rPr>
              <a:t>Sollevatori Telescopici</a:t>
            </a:r>
            <a:endParaRPr lang="it" b="1" dirty="0">
              <a:solidFill>
                <a:schemeClr val="accent3">
                  <a:lumMod val="50000"/>
                </a:schemeClr>
              </a:solidFill>
            </a:endParaRPr>
          </a:p>
          <a:p>
            <a:pPr algn="l" rtl="0"/>
            <a:r>
              <a:rPr lang="it" sz="1400" b="0" i="0" u="none" baseline="0" dirty="0">
                <a:solidFill>
                  <a:schemeClr val="accent3">
                    <a:lumMod val="50000"/>
                  </a:schemeClr>
                </a:solidFill>
              </a:rPr>
              <a:t>Solido design e prestazioni per la movimentazione di materiali all’aperto</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pPr algn="l" rtl="0"/>
            <a:r>
              <a:rPr lang="it" b="1" i="0" u="none" baseline="0"/>
              <a:t>Qualità grazie all'esperienza nelle applicazioni e all'eccellenza nella produzione</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3027754" y="4747455"/>
            <a:ext cx="855146" cy="1085067"/>
          </a:xfrm>
          <a:prstGeom prst="rect">
            <a:avLst/>
          </a:prstGeom>
        </p:spPr>
      </p:pic>
      <p:sp>
        <p:nvSpPr>
          <p:cNvPr id="50" name="Slide Number Placeholder 5">
            <a:extLst>
              <a:ext uri="{FF2B5EF4-FFF2-40B4-BE49-F238E27FC236}">
                <a16:creationId xmlns:a16="http://schemas.microsoft.com/office/drawing/2014/main" id="{C0627AAB-B23C-E34E-9BAF-59789B9D5E0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113870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5" y="316259"/>
            <a:ext cx="3321678" cy="5418715"/>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it" sz="2000" b="1" i="0" u="none" baseline="0" dirty="0">
                <a:solidFill>
                  <a:schemeClr val="bg2"/>
                </a:solidFill>
                <a:latin typeface="Arial Narrow" panose="020B0606020202030204" pitchFamily="34" charset="0"/>
                <a:ea typeface="ＭＳ Ｐゴシック" panose="020B0600070205080204" pitchFamily="34" charset="-128"/>
              </a:rPr>
              <a:t>Regole di nomenclatura</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it"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Le prime due lettere indicano il tipo di piattaforma, la prima serie di due cifre l'altezza al piano calpestio in piedi (ft) e la seconda serie di due cifre la larghezza della macchina in pollici (in)</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endParaRPr lang="en-150" sz="1200"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ts val="600"/>
              </a:spcBef>
              <a:buClr>
                <a:schemeClr val="bg2"/>
              </a:buClr>
              <a:buSzPct val="100000"/>
              <a:tabLst>
                <a:tab pos="114300" algn="l"/>
              </a:tabLst>
            </a:pPr>
            <a:r>
              <a:rPr lang="en-GB" sz="1200" b="1" dirty="0" err="1">
                <a:solidFill>
                  <a:schemeClr val="accent3">
                    <a:lumMod val="50000"/>
                  </a:schemeClr>
                </a:solidFill>
                <a:latin typeface="Arial Narrow" panose="020B0606020202030204" pitchFamily="34" charset="0"/>
                <a:ea typeface="ＭＳ Ｐゴシック" panose="020B0600070205080204" pitchFamily="34" charset="-128"/>
              </a:rPr>
              <a:t>Esempio</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25800"/>
              </a:spcBef>
              <a:buClr>
                <a:schemeClr val="bg2"/>
              </a:buClr>
              <a:buSzPct val="100000"/>
              <a:tabLst>
                <a:tab pos="114300" algn="l"/>
              </a:tabLst>
            </a:pPr>
            <a:r>
              <a:rPr lang="it-IT" sz="1200" dirty="0">
                <a:solidFill>
                  <a:schemeClr val="accent3">
                    <a:lumMod val="50000"/>
                  </a:schemeClr>
                </a:solidFill>
                <a:latin typeface="Arial Narrow" panose="020B0606020202030204" pitchFamily="34" charset="0"/>
                <a:ea typeface="ＭＳ Ｐゴシック" panose="020B0600070205080204" pitchFamily="34" charset="-128"/>
              </a:rPr>
              <a:t>Spesso dette anche: forbici, elevatori verticali, piattaforma di lavoro aereo, piattaforma aerea semovente e piattaforma a pantografo</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endParaRPr lang="fr-FR" sz="1200" b="1"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endParaRPr lang="en-150" sz="2000" b="1" dirty="0">
              <a:solidFill>
                <a:schemeClr val="bg2"/>
              </a:solidFill>
              <a:latin typeface="Arial Narrow" panose="020B0606020202030204" pitchFamily="34" charset="0"/>
              <a:ea typeface="ＭＳ Ｐゴシック" panose="020B0600070205080204" pitchFamily="34" charset="-128"/>
            </a:endParaRP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8008050" cy="640080"/>
          </a:xfrm>
        </p:spPr>
        <p:txBody>
          <a:bodyPr anchor="t">
            <a:normAutofit/>
          </a:bodyPr>
          <a:lstStyle/>
          <a:p>
            <a:r>
              <a:rPr lang="it" b="1" i="0" u="none" baseline="0" dirty="0"/>
              <a:t>Piattaforme a Forbice</a:t>
            </a:r>
            <a:endParaRPr lang="en-US" dirty="0"/>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529207" cy="2581797"/>
          </a:xfrm>
        </p:spPr>
        <p:txBody>
          <a:bodyPr lIns="0" tIns="0" rIns="0" bIns="0"/>
          <a:lstStyle/>
          <a:p>
            <a:pPr>
              <a:spcBef>
                <a:spcPts val="600"/>
              </a:spcBef>
              <a:spcAft>
                <a:spcPts val="300"/>
              </a:spcAft>
            </a:pPr>
            <a:r>
              <a:rPr lang="en-US" sz="1700" b="1" dirty="0" err="1"/>
              <a:t>Applicazioni</a:t>
            </a:r>
            <a:r>
              <a:rPr lang="en-US" sz="1700" b="1" dirty="0"/>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IT" sz="1700" dirty="0"/>
              <a:t>Pavimentazione in interni - impianti di aerazione, manutenzione e costruzione di interni, verniciatura, installazione di pannelli</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IT" sz="1700" dirty="0"/>
              <a:t>Fuoristrada - Finiture esterne, cantieri impegnativi</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IT" sz="1700" dirty="0"/>
              <a:t>Serie E-Drive - per cantieri al chiuso e all’aperto</a:t>
            </a:r>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a:xfrm>
            <a:off x="350204" y="748854"/>
            <a:ext cx="8008364" cy="452454"/>
          </a:xfrm>
        </p:spPr>
        <p:txBody>
          <a:bodyPr/>
          <a:lstStyle/>
          <a:p>
            <a:pPr algn="l" rtl="0"/>
            <a:r>
              <a:rPr lang="it" b="1" i="0" u="none" baseline="0" dirty="0"/>
              <a:t>Alta efficienza, facilità di manovra</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497160" y="1513793"/>
            <a:ext cx="1319728" cy="1258304"/>
          </a:xfrm>
          <a:prstGeom prst="roundRect">
            <a:avLst>
              <a:gd name="adj" fmla="val 4298"/>
            </a:avLst>
          </a:prstGeom>
        </p:spPr>
      </p:pic>
      <p:pic>
        <p:nvPicPr>
          <p:cNvPr id="15" name="Picture 14" descr="A picture containing outdoor, sky, ground, blue&#10;&#10;Description automatically generated">
            <a:extLst>
              <a:ext uri="{FF2B5EF4-FFF2-40B4-BE49-F238E27FC236}">
                <a16:creationId xmlns:a16="http://schemas.microsoft.com/office/drawing/2014/main" id="{2DED6CBA-2244-47B3-AD1D-B9913FAF021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880223" y="1513793"/>
            <a:ext cx="1443337" cy="2497273"/>
          </a:xfrm>
          <a:prstGeom prst="roundRect">
            <a:avLst>
              <a:gd name="adj" fmla="val 3188"/>
            </a:avLst>
          </a:prstGeom>
        </p:spPr>
      </p:pic>
      <p:pic>
        <p:nvPicPr>
          <p:cNvPr id="17" name="Picture 16" descr="A picture containing grass, outdoor, sky, blue&#10;&#10;Description automatically generated">
            <a:extLst>
              <a:ext uri="{FF2B5EF4-FFF2-40B4-BE49-F238E27FC236}">
                <a16:creationId xmlns:a16="http://schemas.microsoft.com/office/drawing/2014/main" id="{17724F15-4295-4953-ADED-C5285BB4DD2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4912" b="4912"/>
          <a:stretch/>
        </p:blipFill>
        <p:spPr>
          <a:xfrm>
            <a:off x="5510090" y="2818527"/>
            <a:ext cx="1306797" cy="1188000"/>
          </a:xfrm>
          <a:prstGeom prst="roundRect">
            <a:avLst>
              <a:gd name="adj" fmla="val 5203"/>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FD053AD6-0AA9-4C73-B80D-2B260863C14A}"/>
              </a:ext>
            </a:extLst>
          </p:cNvPr>
          <p:cNvGrpSpPr/>
          <p:nvPr/>
        </p:nvGrpSpPr>
        <p:grpSpPr>
          <a:xfrm>
            <a:off x="499204" y="4036858"/>
            <a:ext cx="7703334" cy="1720826"/>
            <a:chOff x="706931" y="4191138"/>
            <a:chExt cx="7103224" cy="1526142"/>
          </a:xfrm>
        </p:grpSpPr>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rotWithShape="1">
            <a:blip r:embed="rId8"/>
            <a:srcRect r="24907"/>
            <a:stretch/>
          </p:blipFill>
          <p:spPr>
            <a:xfrm>
              <a:off x="706931" y="4191138"/>
              <a:ext cx="5560704" cy="1524032"/>
            </a:xfrm>
            <a:prstGeom prst="rect">
              <a:avLst/>
            </a:prstGeom>
            <a:noFill/>
            <a:ln>
              <a:noFill/>
            </a:ln>
          </p:spPr>
        </p:pic>
        <p:pic>
          <p:nvPicPr>
            <p:cNvPr id="16" name="Picture 15">
              <a:extLst>
                <a:ext uri="{FF2B5EF4-FFF2-40B4-BE49-F238E27FC236}">
                  <a16:creationId xmlns:a16="http://schemas.microsoft.com/office/drawing/2014/main" id="{B3CB38E3-99EB-4FB3-AC34-65DCA2A1F398}"/>
                </a:ext>
              </a:extLst>
            </p:cNvPr>
            <p:cNvPicPr>
              <a:picLocks noChangeAspect="1"/>
            </p:cNvPicPr>
            <p:nvPr/>
          </p:nvPicPr>
          <p:blipFill rotWithShape="1">
            <a:blip r:embed="rId8"/>
            <a:srcRect l="79169"/>
            <a:stretch/>
          </p:blipFill>
          <p:spPr>
            <a:xfrm>
              <a:off x="6267635" y="4193248"/>
              <a:ext cx="1542520" cy="1524032"/>
            </a:xfrm>
            <a:prstGeom prst="rect">
              <a:avLst/>
            </a:prstGeom>
            <a:noFill/>
            <a:ln>
              <a:noFill/>
            </a:ln>
          </p:spPr>
        </p:pic>
      </p:grpSp>
      <p:sp>
        <p:nvSpPr>
          <p:cNvPr id="5" name="Rounded Rectangle 4">
            <a:extLst>
              <a:ext uri="{FF2B5EF4-FFF2-40B4-BE49-F238E27FC236}">
                <a16:creationId xmlns:a16="http://schemas.microsoft.com/office/drawing/2014/main" id="{DCF86A9D-7EC3-E79C-A081-34493AE5F643}"/>
              </a:ext>
            </a:extLst>
          </p:cNvPr>
          <p:cNvSpPr/>
          <p:nvPr/>
        </p:nvSpPr>
        <p:spPr>
          <a:xfrm>
            <a:off x="445673" y="4095590"/>
            <a:ext cx="7885549" cy="1639385"/>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000EA9D6-C34C-132A-4E06-27C2DEE01C3A}"/>
              </a:ext>
            </a:extLst>
          </p:cNvPr>
          <p:cNvSpPr txBox="1"/>
          <p:nvPr/>
        </p:nvSpPr>
        <p:spPr>
          <a:xfrm>
            <a:off x="9094865" y="2281859"/>
            <a:ext cx="2618151" cy="523220"/>
          </a:xfrm>
          <a:prstGeom prst="rect">
            <a:avLst/>
          </a:prstGeom>
          <a:noFill/>
        </p:spPr>
        <p:txBody>
          <a:bodyPr wrap="square" rtlCol="0">
            <a:spAutoFit/>
          </a:bodyPr>
          <a:lstStyle/>
          <a:p>
            <a:r>
              <a:rPr lang="en-GB" sz="2800" b="1" spc="300" dirty="0">
                <a:solidFill>
                  <a:schemeClr val="bg2"/>
                </a:solidFill>
                <a:latin typeface="Arial Narrow" panose="020B0606020202030204" pitchFamily="34" charset="0"/>
                <a:ea typeface="ＭＳ Ｐゴシック" panose="020B0600070205080204" pitchFamily="34" charset="-128"/>
              </a:rPr>
              <a:t>G</a:t>
            </a:r>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7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1932</a:t>
            </a:r>
            <a:endParaRPr lang="en-US" sz="2800" spc="300" dirty="0">
              <a:solidFill>
                <a:schemeClr val="bg2"/>
              </a:solidFill>
            </a:endParaRPr>
          </a:p>
        </p:txBody>
      </p:sp>
      <p:sp>
        <p:nvSpPr>
          <p:cNvPr id="10" name="Rounded Rectangle 9">
            <a:extLst>
              <a:ext uri="{FF2B5EF4-FFF2-40B4-BE49-F238E27FC236}">
                <a16:creationId xmlns:a16="http://schemas.microsoft.com/office/drawing/2014/main" id="{85AFD9CF-9786-F847-9AA2-8E0938EFC7D8}"/>
              </a:ext>
            </a:extLst>
          </p:cNvPr>
          <p:cNvSpPr/>
          <p:nvPr/>
        </p:nvSpPr>
        <p:spPr>
          <a:xfrm>
            <a:off x="8639475" y="2881789"/>
            <a:ext cx="1589421"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ezza al piano </a:t>
            </a:r>
            <a:r>
              <a:rPr lang="en-GB" sz="1200" dirty="0" err="1">
                <a:solidFill>
                  <a:schemeClr val="bg1"/>
                </a:solidFill>
                <a:latin typeface="Arial Narrow" panose="020B0606020202030204" pitchFamily="34" charset="0"/>
                <a:ea typeface="ＭＳ Ｐゴシック" panose="020B0600070205080204" pitchFamily="34" charset="-128"/>
              </a:rPr>
              <a:t>calpestio</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19 ft</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5.79 m)</a:t>
            </a:r>
            <a:endParaRPr lang="en-US" sz="1200" dirty="0">
              <a:solidFill>
                <a:schemeClr val="bg1"/>
              </a:solidFill>
            </a:endParaRPr>
          </a:p>
        </p:txBody>
      </p:sp>
      <p:sp>
        <p:nvSpPr>
          <p:cNvPr id="35" name="Rounded Rectangle 34">
            <a:extLst>
              <a:ext uri="{FF2B5EF4-FFF2-40B4-BE49-F238E27FC236}">
                <a16:creationId xmlns:a16="http://schemas.microsoft.com/office/drawing/2014/main" id="{934F0C5C-9D71-B9D4-71CF-B77BF446BD1D}"/>
              </a:ext>
            </a:extLst>
          </p:cNvPr>
          <p:cNvSpPr/>
          <p:nvPr/>
        </p:nvSpPr>
        <p:spPr>
          <a:xfrm>
            <a:off x="10344871" y="2881789"/>
            <a:ext cx="1292816"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Larghezza</a:t>
            </a:r>
            <a:r>
              <a:rPr lang="en-GB" sz="1200" dirty="0">
                <a:solidFill>
                  <a:schemeClr val="bg1"/>
                </a:solidFill>
                <a:latin typeface="Arial Narrow" panose="020B0606020202030204" pitchFamily="34" charset="0"/>
                <a:ea typeface="ＭＳ Ｐゴシック" panose="020B0600070205080204" pitchFamily="34" charset="-128"/>
              </a:rPr>
              <a:t> </a:t>
            </a:r>
            <a:r>
              <a:rPr lang="en-GB" sz="1200" dirty="0" err="1">
                <a:solidFill>
                  <a:schemeClr val="bg1"/>
                </a:solidFill>
                <a:latin typeface="Arial Narrow" panose="020B0606020202030204" pitchFamily="34" charset="0"/>
                <a:ea typeface="ＭＳ Ｐゴシック" panose="020B0600070205080204" pitchFamily="34" charset="-128"/>
              </a:rPr>
              <a:t>macchina</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32 in</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81 cm)</a:t>
            </a:r>
            <a:endParaRPr lang="en-US" sz="1200" dirty="0">
              <a:solidFill>
                <a:schemeClr val="bg1"/>
              </a:solidFill>
            </a:endParaRPr>
          </a:p>
        </p:txBody>
      </p:sp>
      <p:grpSp>
        <p:nvGrpSpPr>
          <p:cNvPr id="36" name="Group 35">
            <a:extLst>
              <a:ext uri="{FF2B5EF4-FFF2-40B4-BE49-F238E27FC236}">
                <a16:creationId xmlns:a16="http://schemas.microsoft.com/office/drawing/2014/main" id="{442AD38F-5EA5-5108-530C-8F559020C563}"/>
              </a:ext>
            </a:extLst>
          </p:cNvPr>
          <p:cNvGrpSpPr/>
          <p:nvPr/>
        </p:nvGrpSpPr>
        <p:grpSpPr>
          <a:xfrm flipV="1">
            <a:off x="9209845" y="2191980"/>
            <a:ext cx="396000" cy="170879"/>
            <a:chOff x="9521533" y="2168131"/>
            <a:chExt cx="396000" cy="170879"/>
          </a:xfrm>
        </p:grpSpPr>
        <p:cxnSp>
          <p:nvCxnSpPr>
            <p:cNvPr id="37" name="Straight Arrow Connector 36">
              <a:extLst>
                <a:ext uri="{FF2B5EF4-FFF2-40B4-BE49-F238E27FC236}">
                  <a16:creationId xmlns:a16="http://schemas.microsoft.com/office/drawing/2014/main" id="{17D2C128-BE88-F689-834A-18782F15E375}"/>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FAEDE91-1389-2A1B-CE90-E340F086A4CA}"/>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8EDCE29-644E-B31C-D89A-8B03D6DC50C7}"/>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AE27C08-937A-C1D2-611A-948F51908C8E}"/>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3" name="Rounded Rectangle 42">
            <a:extLst>
              <a:ext uri="{FF2B5EF4-FFF2-40B4-BE49-F238E27FC236}">
                <a16:creationId xmlns:a16="http://schemas.microsoft.com/office/drawing/2014/main" id="{58CE5226-A3A7-AFA1-C67D-07A21F25800B}"/>
              </a:ext>
            </a:extLst>
          </p:cNvPr>
          <p:cNvSpPr/>
          <p:nvPr/>
        </p:nvSpPr>
        <p:spPr>
          <a:xfrm>
            <a:off x="8632208" y="1870103"/>
            <a:ext cx="1278786" cy="33822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Genie</a:t>
            </a:r>
            <a:r>
              <a:rPr lang="en-GB" sz="1200" b="1" baseline="30000" dirty="0">
                <a:solidFill>
                  <a:schemeClr val="bg1"/>
                </a:solidFill>
                <a:latin typeface="Arial Narrow" panose="020B0606020202030204" pitchFamily="34" charset="0"/>
                <a:ea typeface="ＭＳ Ｐゴシック" panose="020B0600070205080204" pitchFamily="34" charset="-128"/>
              </a:rPr>
              <a:t>®</a:t>
            </a:r>
            <a:r>
              <a:rPr lang="en-GB" sz="1200" b="1" dirty="0">
                <a:solidFill>
                  <a:schemeClr val="bg1"/>
                </a:solidFill>
                <a:latin typeface="Arial Narrow" panose="020B0606020202030204" pitchFamily="34" charset="0"/>
                <a:ea typeface="ＭＳ Ｐゴシック" panose="020B0600070205080204" pitchFamily="34" charset="-128"/>
              </a:rPr>
              <a:t> Scissor Lift</a:t>
            </a:r>
          </a:p>
        </p:txBody>
      </p:sp>
      <p:sp>
        <p:nvSpPr>
          <p:cNvPr id="44" name="TextBox 43">
            <a:extLst>
              <a:ext uri="{FF2B5EF4-FFF2-40B4-BE49-F238E27FC236}">
                <a16:creationId xmlns:a16="http://schemas.microsoft.com/office/drawing/2014/main" id="{A559F5F9-0D55-5844-4AF6-EA2D3B8F9C20}"/>
              </a:ext>
            </a:extLst>
          </p:cNvPr>
          <p:cNvSpPr txBox="1"/>
          <p:nvPr/>
        </p:nvSpPr>
        <p:spPr>
          <a:xfrm>
            <a:off x="9094865" y="3962693"/>
            <a:ext cx="2618151" cy="523220"/>
          </a:xfrm>
          <a:prstGeom prst="rect">
            <a:avLst/>
          </a:prstGeom>
          <a:noFill/>
        </p:spPr>
        <p:txBody>
          <a:bodyPr wrap="square" rtlCol="0">
            <a:spAutoFit/>
          </a:bodyPr>
          <a:lstStyle/>
          <a:p>
            <a:r>
              <a:rPr lang="en-GB" sz="2800" b="1" spc="300" dirty="0">
                <a:solidFill>
                  <a:schemeClr val="bg2"/>
                </a:solidFill>
                <a:latin typeface="Arial Narrow" panose="020B0606020202030204" pitchFamily="34" charset="0"/>
                <a:ea typeface="ＭＳ Ｐゴシック" panose="020B0600070205080204" pitchFamily="34" charset="-128"/>
              </a:rPr>
              <a:t>G</a:t>
            </a:r>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70000" dirty="0">
                <a:solidFill>
                  <a:schemeClr val="bg2"/>
                </a:solidFill>
                <a:latin typeface="Arial Narrow" panose="020B0606020202030204" pitchFamily="34" charset="0"/>
                <a:ea typeface="ＭＳ Ｐゴシック" panose="020B0600070205080204" pitchFamily="34" charset="-128"/>
              </a:rPr>
              <a:t>™ </a:t>
            </a:r>
            <a:r>
              <a:rPr lang="en-GB" sz="2800" b="1" spc="300" dirty="0">
                <a:solidFill>
                  <a:schemeClr val="bg2"/>
                </a:solidFill>
                <a:latin typeface="Arial Narrow" panose="020B0606020202030204" pitchFamily="34" charset="0"/>
                <a:ea typeface="ＭＳ Ｐゴシック" panose="020B0600070205080204" pitchFamily="34" charset="-128"/>
              </a:rPr>
              <a:t>-2669 RT</a:t>
            </a:r>
            <a:endParaRPr lang="en-US" sz="2800" spc="300" dirty="0">
              <a:solidFill>
                <a:schemeClr val="bg2"/>
              </a:solidFill>
            </a:endParaRPr>
          </a:p>
        </p:txBody>
      </p:sp>
      <p:sp>
        <p:nvSpPr>
          <p:cNvPr id="45" name="Rounded Rectangle 44">
            <a:extLst>
              <a:ext uri="{FF2B5EF4-FFF2-40B4-BE49-F238E27FC236}">
                <a16:creationId xmlns:a16="http://schemas.microsoft.com/office/drawing/2014/main" id="{537A78AF-4523-1AB4-1B47-53FC8A619CBE}"/>
              </a:ext>
            </a:extLst>
          </p:cNvPr>
          <p:cNvSpPr/>
          <p:nvPr/>
        </p:nvSpPr>
        <p:spPr>
          <a:xfrm>
            <a:off x="8639476" y="4548250"/>
            <a:ext cx="158942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ezza al piano </a:t>
            </a:r>
            <a:r>
              <a:rPr lang="en-GB" sz="1200" dirty="0" err="1">
                <a:solidFill>
                  <a:schemeClr val="bg1"/>
                </a:solidFill>
                <a:latin typeface="Arial Narrow" panose="020B0606020202030204" pitchFamily="34" charset="0"/>
                <a:ea typeface="ＭＳ Ｐゴシック" panose="020B0600070205080204" pitchFamily="34" charset="-128"/>
              </a:rPr>
              <a:t>calpestio</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26 ft</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7.9 m)</a:t>
            </a:r>
            <a:endParaRPr lang="en-US" sz="1200" dirty="0">
              <a:solidFill>
                <a:schemeClr val="bg1"/>
              </a:solidFill>
            </a:endParaRPr>
          </a:p>
        </p:txBody>
      </p:sp>
      <p:grpSp>
        <p:nvGrpSpPr>
          <p:cNvPr id="46" name="Group 45">
            <a:extLst>
              <a:ext uri="{FF2B5EF4-FFF2-40B4-BE49-F238E27FC236}">
                <a16:creationId xmlns:a16="http://schemas.microsoft.com/office/drawing/2014/main" id="{731006AF-715C-5D8C-F5FD-D032CC783F08}"/>
              </a:ext>
            </a:extLst>
          </p:cNvPr>
          <p:cNvGrpSpPr/>
          <p:nvPr/>
        </p:nvGrpSpPr>
        <p:grpSpPr>
          <a:xfrm>
            <a:off x="9959733" y="4390663"/>
            <a:ext cx="284576" cy="162000"/>
            <a:chOff x="9535283" y="2168131"/>
            <a:chExt cx="284576" cy="162000"/>
          </a:xfrm>
        </p:grpSpPr>
        <p:cxnSp>
          <p:nvCxnSpPr>
            <p:cNvPr id="47" name="Straight Arrow Connector 46">
              <a:extLst>
                <a:ext uri="{FF2B5EF4-FFF2-40B4-BE49-F238E27FC236}">
                  <a16:creationId xmlns:a16="http://schemas.microsoft.com/office/drawing/2014/main" id="{E7AB6F5C-BD0E-D012-8DEC-330F3E40F47A}"/>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89CFE56-B09E-3823-F613-CABC719EB4DB}"/>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CE39E40-6B1D-A214-CB3E-9007E645FD6A}"/>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96E71F8-906B-8C32-EAF7-40D492F142CD}"/>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7" name="Rounded Rectangle 56">
            <a:extLst>
              <a:ext uri="{FF2B5EF4-FFF2-40B4-BE49-F238E27FC236}">
                <a16:creationId xmlns:a16="http://schemas.microsoft.com/office/drawing/2014/main" id="{27493AD1-113C-5376-3664-2BB236D2A811}"/>
              </a:ext>
            </a:extLst>
          </p:cNvPr>
          <p:cNvSpPr/>
          <p:nvPr/>
        </p:nvSpPr>
        <p:spPr>
          <a:xfrm>
            <a:off x="10344870" y="4542806"/>
            <a:ext cx="1292815"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Larghezza</a:t>
            </a:r>
            <a:r>
              <a:rPr lang="en-GB" sz="1200" dirty="0">
                <a:solidFill>
                  <a:schemeClr val="bg1"/>
                </a:solidFill>
                <a:latin typeface="Arial Narrow" panose="020B0606020202030204" pitchFamily="34" charset="0"/>
                <a:ea typeface="ＭＳ Ｐゴシック" panose="020B0600070205080204" pitchFamily="34" charset="-128"/>
              </a:rPr>
              <a:t> </a:t>
            </a:r>
            <a:r>
              <a:rPr lang="en-GB" sz="1200" dirty="0" err="1">
                <a:solidFill>
                  <a:schemeClr val="bg1"/>
                </a:solidFill>
                <a:latin typeface="Arial Narrow" panose="020B0606020202030204" pitchFamily="34" charset="0"/>
                <a:ea typeface="ＭＳ Ｐゴシック" panose="020B0600070205080204" pitchFamily="34" charset="-128"/>
              </a:rPr>
              <a:t>macchina</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9 in</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1.75 m)</a:t>
            </a:r>
            <a:endParaRPr lang="en-US" sz="1200" dirty="0">
              <a:solidFill>
                <a:schemeClr val="bg1"/>
              </a:solidFill>
            </a:endParaRPr>
          </a:p>
        </p:txBody>
      </p:sp>
      <p:grpSp>
        <p:nvGrpSpPr>
          <p:cNvPr id="71" name="Group 70">
            <a:extLst>
              <a:ext uri="{FF2B5EF4-FFF2-40B4-BE49-F238E27FC236}">
                <a16:creationId xmlns:a16="http://schemas.microsoft.com/office/drawing/2014/main" id="{EBCB826C-008D-CE29-DF19-B8ED62281D18}"/>
              </a:ext>
            </a:extLst>
          </p:cNvPr>
          <p:cNvGrpSpPr/>
          <p:nvPr/>
        </p:nvGrpSpPr>
        <p:grpSpPr>
          <a:xfrm>
            <a:off x="10372244" y="4390663"/>
            <a:ext cx="284576" cy="162000"/>
            <a:chOff x="9535283" y="2168131"/>
            <a:chExt cx="284576" cy="162000"/>
          </a:xfrm>
        </p:grpSpPr>
        <p:cxnSp>
          <p:nvCxnSpPr>
            <p:cNvPr id="72" name="Straight Arrow Connector 71">
              <a:extLst>
                <a:ext uri="{FF2B5EF4-FFF2-40B4-BE49-F238E27FC236}">
                  <a16:creationId xmlns:a16="http://schemas.microsoft.com/office/drawing/2014/main" id="{CAA4B50E-46B2-1910-05E7-B7FC4329A3A8}"/>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B3D088D-C16B-0604-1081-6E87FB300C5E}"/>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AE75318-8187-1E3E-72A8-00ABE35BEAA2}"/>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ED82682-1A6B-7841-F892-9D0A8E418BDE}"/>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83F1E194-03D1-7321-0F84-7E5F4EBCA901}"/>
              </a:ext>
            </a:extLst>
          </p:cNvPr>
          <p:cNvGrpSpPr/>
          <p:nvPr/>
        </p:nvGrpSpPr>
        <p:grpSpPr>
          <a:xfrm>
            <a:off x="9959733" y="2716704"/>
            <a:ext cx="284576" cy="162000"/>
            <a:chOff x="9535283" y="2168131"/>
            <a:chExt cx="284576" cy="162000"/>
          </a:xfrm>
        </p:grpSpPr>
        <p:cxnSp>
          <p:nvCxnSpPr>
            <p:cNvPr id="77" name="Straight Arrow Connector 76">
              <a:extLst>
                <a:ext uri="{FF2B5EF4-FFF2-40B4-BE49-F238E27FC236}">
                  <a16:creationId xmlns:a16="http://schemas.microsoft.com/office/drawing/2014/main" id="{69D26911-ACED-AD4C-8B49-66C8D332BEA1}"/>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7110AB96-2FD4-A3A5-B642-19A92D64E627}"/>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BBC85E9-E452-56C9-4E7A-7B64A5602179}"/>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724936F-9B32-5832-03DD-360056E0FFF9}"/>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55FE12E4-F75E-3CBB-9C7C-9CBD176620FD}"/>
              </a:ext>
            </a:extLst>
          </p:cNvPr>
          <p:cNvGrpSpPr/>
          <p:nvPr/>
        </p:nvGrpSpPr>
        <p:grpSpPr>
          <a:xfrm>
            <a:off x="10372244" y="2716704"/>
            <a:ext cx="284576" cy="162000"/>
            <a:chOff x="9535283" y="2168131"/>
            <a:chExt cx="284576" cy="162000"/>
          </a:xfrm>
        </p:grpSpPr>
        <p:cxnSp>
          <p:nvCxnSpPr>
            <p:cNvPr id="82" name="Straight Arrow Connector 81">
              <a:extLst>
                <a:ext uri="{FF2B5EF4-FFF2-40B4-BE49-F238E27FC236}">
                  <a16:creationId xmlns:a16="http://schemas.microsoft.com/office/drawing/2014/main" id="{284542AE-2994-B94B-5C84-CFA26EDB990D}"/>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32507D4-8DED-732C-9A44-F69E76FFFAF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0F98EC1-57D6-E3EB-8DDB-99AADE9A790F}"/>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6A7D465-1C0D-7B9A-29E0-6F7C12F20D6B}"/>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6" name="Rounded Rectangle 85">
            <a:extLst>
              <a:ext uri="{FF2B5EF4-FFF2-40B4-BE49-F238E27FC236}">
                <a16:creationId xmlns:a16="http://schemas.microsoft.com/office/drawing/2014/main" id="{3CC614BF-157A-72E8-84AC-223BA62C7E00}"/>
              </a:ext>
            </a:extLst>
          </p:cNvPr>
          <p:cNvSpPr/>
          <p:nvPr/>
        </p:nvSpPr>
        <p:spPr>
          <a:xfrm>
            <a:off x="10033537" y="3493475"/>
            <a:ext cx="1651858" cy="394385"/>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a:solidFill>
                  <a:schemeClr val="bg1"/>
                </a:solidFill>
                <a:latin typeface="Arial Narrow" panose="020B0606020202030204" pitchFamily="34" charset="0"/>
                <a:ea typeface="ＭＳ Ｐゴシック" panose="020B0600070205080204" pitchFamily="34" charset="-128"/>
              </a:rPr>
              <a:t>ROUGH TERRAIN</a:t>
            </a:r>
          </a:p>
          <a:p>
            <a:pPr>
              <a:lnSpc>
                <a:spcPts val="1000"/>
              </a:lnSpc>
            </a:pPr>
            <a:r>
              <a:rPr lang="en-GB" sz="1200" dirty="0" err="1">
                <a:solidFill>
                  <a:schemeClr val="bg1"/>
                </a:solidFill>
                <a:latin typeface="Arial Narrow" panose="020B0606020202030204" pitchFamily="34" charset="0"/>
                <a:ea typeface="ＭＳ Ｐゴシック" panose="020B0600070205080204" pitchFamily="34" charset="-128"/>
              </a:rPr>
              <a:t>Modello</a:t>
            </a:r>
            <a:r>
              <a:rPr lang="en-GB" sz="1200" dirty="0">
                <a:solidFill>
                  <a:schemeClr val="bg1"/>
                </a:solidFill>
                <a:latin typeface="Arial Narrow" panose="020B0606020202030204" pitchFamily="34" charset="0"/>
                <a:ea typeface="ＭＳ Ｐゴシック" panose="020B0600070205080204" pitchFamily="34" charset="-128"/>
              </a:rPr>
              <a:t> </a:t>
            </a:r>
            <a:r>
              <a:rPr lang="en-GB" sz="1200" dirty="0" err="1">
                <a:solidFill>
                  <a:schemeClr val="bg1"/>
                </a:solidFill>
                <a:latin typeface="Arial Narrow" panose="020B0606020202030204" pitchFamily="34" charset="0"/>
                <a:ea typeface="ＭＳ Ｐゴシック" panose="020B0600070205080204" pitchFamily="34" charset="-128"/>
              </a:rPr>
              <a:t>fuoristrada</a:t>
            </a:r>
            <a:endParaRPr lang="en-GB" sz="1200" dirty="0">
              <a:solidFill>
                <a:schemeClr val="bg1"/>
              </a:solidFill>
              <a:latin typeface="Arial Narrow" panose="020B0606020202030204" pitchFamily="34" charset="0"/>
              <a:ea typeface="ＭＳ Ｐゴシック" panose="020B0600070205080204" pitchFamily="34" charset="-128"/>
            </a:endParaRPr>
          </a:p>
        </p:txBody>
      </p:sp>
      <p:grpSp>
        <p:nvGrpSpPr>
          <p:cNvPr id="87" name="Group 86">
            <a:extLst>
              <a:ext uri="{FF2B5EF4-FFF2-40B4-BE49-F238E27FC236}">
                <a16:creationId xmlns:a16="http://schemas.microsoft.com/office/drawing/2014/main" id="{BBA4D980-6EF6-1FC0-A316-128AFD736EC8}"/>
              </a:ext>
            </a:extLst>
          </p:cNvPr>
          <p:cNvGrpSpPr/>
          <p:nvPr/>
        </p:nvGrpSpPr>
        <p:grpSpPr>
          <a:xfrm flipV="1">
            <a:off x="9209845" y="3872815"/>
            <a:ext cx="396000" cy="170879"/>
            <a:chOff x="9521533" y="2168131"/>
            <a:chExt cx="396000" cy="170879"/>
          </a:xfrm>
        </p:grpSpPr>
        <p:cxnSp>
          <p:nvCxnSpPr>
            <p:cNvPr id="88" name="Straight Arrow Connector 87">
              <a:extLst>
                <a:ext uri="{FF2B5EF4-FFF2-40B4-BE49-F238E27FC236}">
                  <a16:creationId xmlns:a16="http://schemas.microsoft.com/office/drawing/2014/main" id="{7BF03B3F-F7FB-B139-0AF3-34A329345FA8}"/>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63DFA7-B58B-CF8F-FF4A-C1DAE3EF1E01}"/>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F885A8D-05E0-63D1-F4F6-0C995F797D0D}"/>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A40D039-88D7-D7FC-345B-9812CD502C71}"/>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2" name="Rounded Rectangle 91">
            <a:extLst>
              <a:ext uri="{FF2B5EF4-FFF2-40B4-BE49-F238E27FC236}">
                <a16:creationId xmlns:a16="http://schemas.microsoft.com/office/drawing/2014/main" id="{AB9ECE18-908B-80B5-A435-5B04732FC422}"/>
              </a:ext>
            </a:extLst>
          </p:cNvPr>
          <p:cNvSpPr/>
          <p:nvPr/>
        </p:nvSpPr>
        <p:spPr>
          <a:xfrm>
            <a:off x="8632208" y="3493475"/>
            <a:ext cx="1278786" cy="395691"/>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Genie</a:t>
            </a:r>
            <a:r>
              <a:rPr lang="en-GB" sz="1200" b="1" baseline="30000" dirty="0">
                <a:solidFill>
                  <a:schemeClr val="bg1"/>
                </a:solidFill>
                <a:latin typeface="Arial Narrow" panose="020B0606020202030204" pitchFamily="34" charset="0"/>
                <a:ea typeface="ＭＳ Ｐゴシック" panose="020B0600070205080204" pitchFamily="34" charset="-128"/>
              </a:rPr>
              <a:t>®</a:t>
            </a:r>
            <a:r>
              <a:rPr lang="en-GB" sz="1200" b="1" dirty="0">
                <a:solidFill>
                  <a:schemeClr val="bg1"/>
                </a:solidFill>
                <a:latin typeface="Arial Narrow" panose="020B0606020202030204" pitchFamily="34" charset="0"/>
                <a:ea typeface="ＭＳ Ｐゴシック" panose="020B0600070205080204" pitchFamily="34" charset="-128"/>
              </a:rPr>
              <a:t> Scissor Lift</a:t>
            </a:r>
          </a:p>
        </p:txBody>
      </p:sp>
      <p:grpSp>
        <p:nvGrpSpPr>
          <p:cNvPr id="93" name="Group 92">
            <a:extLst>
              <a:ext uri="{FF2B5EF4-FFF2-40B4-BE49-F238E27FC236}">
                <a16:creationId xmlns:a16="http://schemas.microsoft.com/office/drawing/2014/main" id="{DB99A339-5531-DFA7-03BD-2955DE1D6E4E}"/>
              </a:ext>
            </a:extLst>
          </p:cNvPr>
          <p:cNvGrpSpPr/>
          <p:nvPr/>
        </p:nvGrpSpPr>
        <p:grpSpPr>
          <a:xfrm flipV="1">
            <a:off x="10873640" y="3872815"/>
            <a:ext cx="396000" cy="170879"/>
            <a:chOff x="9521533" y="2168131"/>
            <a:chExt cx="396000" cy="170879"/>
          </a:xfrm>
        </p:grpSpPr>
        <p:cxnSp>
          <p:nvCxnSpPr>
            <p:cNvPr id="94" name="Straight Arrow Connector 93">
              <a:extLst>
                <a:ext uri="{FF2B5EF4-FFF2-40B4-BE49-F238E27FC236}">
                  <a16:creationId xmlns:a16="http://schemas.microsoft.com/office/drawing/2014/main" id="{C48B5E65-A629-E65F-EB93-DCDC0B7432F3}"/>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C518EAA-F15D-D039-1B32-E425C263A075}"/>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2DB03E3-5A76-0140-6F41-FA5E6436A0BA}"/>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A914D17-2E38-86F0-60EB-97E659364D73}"/>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5392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7958748" cy="640080"/>
          </a:xfrm>
        </p:spPr>
        <p:txBody>
          <a:bodyPr anchor="t">
            <a:normAutofit/>
          </a:bodyPr>
          <a:lstStyle/>
          <a:p>
            <a:r>
              <a:rPr lang="it" b="1" i="0" u="none" baseline="0" dirty="0"/>
              <a:t>Piattaforme a Braccio Articolato</a:t>
            </a:r>
            <a:endParaRPr lang="en-US" dirty="0"/>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20" y="1577340"/>
            <a:ext cx="5320706" cy="2060805"/>
          </a:xfrm>
        </p:spPr>
        <p:txBody>
          <a:bodyPr/>
          <a:lstStyle/>
          <a:p>
            <a:pPr>
              <a:spcBef>
                <a:spcPts val="600"/>
              </a:spcBef>
              <a:spcAft>
                <a:spcPts val="300"/>
              </a:spcAft>
            </a:pPr>
            <a:r>
              <a:rPr lang="en-US" b="1" dirty="0" err="1"/>
              <a:t>Applicazioni</a:t>
            </a:r>
            <a:r>
              <a:rPr lang="en-US" b="1" dirty="0"/>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IT" dirty="0"/>
              <a:t>Elettrico- uso nell’industria e nello stoccaggio e magazzini</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IT" dirty="0"/>
              <a:t>Diesel per terreni fuoristrada - cantieri irregolari</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IT" dirty="0"/>
              <a:t>Ibrido per terreni fuoristrada - versatilità al chiuso e all’aperto</a:t>
            </a:r>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a:xfrm>
            <a:off x="350204" y="748854"/>
            <a:ext cx="7958749" cy="452454"/>
          </a:xfrm>
        </p:spPr>
        <p:txBody>
          <a:bodyPr/>
          <a:lstStyle/>
          <a:p>
            <a:pPr algn="l" rtl="0"/>
            <a:r>
              <a:rPr lang="it" b="1" i="0" u="none" baseline="0" dirty="0"/>
              <a:t>Impressionante altezza di lavoro e capacità di scavalcamento per cantieri difficilmente accessibili</a:t>
            </a:r>
            <a:endParaRPr lang="it" dirty="0"/>
          </a:p>
        </p:txBody>
      </p:sp>
      <p:pic>
        <p:nvPicPr>
          <p:cNvPr id="17" name="Picture 16" descr="A picture containing blue&#10;&#10;Description automatically generated">
            <a:extLst>
              <a:ext uri="{FF2B5EF4-FFF2-40B4-BE49-F238E27FC236}">
                <a16:creationId xmlns:a16="http://schemas.microsoft.com/office/drawing/2014/main" id="{5F1C379D-D634-46C6-952D-55432470118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8985" b="1572"/>
          <a:stretch/>
        </p:blipFill>
        <p:spPr>
          <a:xfrm>
            <a:off x="5944642" y="1456704"/>
            <a:ext cx="2364624" cy="2628000"/>
          </a:xfrm>
          <a:prstGeom prst="roundRect">
            <a:avLst>
              <a:gd name="adj" fmla="val 1857"/>
            </a:avLst>
          </a:prstGeom>
        </p:spPr>
      </p:pic>
      <p:pic>
        <p:nvPicPr>
          <p:cNvPr id="19" name="Picture 18" descr="A picture containing outdoor&#10;&#10;Description automatically generated">
            <a:extLst>
              <a:ext uri="{FF2B5EF4-FFF2-40B4-BE49-F238E27FC236}">
                <a16:creationId xmlns:a16="http://schemas.microsoft.com/office/drawing/2014/main" id="{62425B35-9532-4757-9D7C-78BA9E9369B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44642" y="4157026"/>
            <a:ext cx="2365236" cy="1577613"/>
          </a:xfrm>
          <a:prstGeom prst="roundRect">
            <a:avLst>
              <a:gd name="adj" fmla="val 3102"/>
            </a:avLst>
          </a:prstGeom>
        </p:spPr>
      </p:pic>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7EB73837-0C17-4CFF-BAEE-29431180FD78}"/>
              </a:ext>
            </a:extLst>
          </p:cNvPr>
          <p:cNvGrpSpPr/>
          <p:nvPr/>
        </p:nvGrpSpPr>
        <p:grpSpPr>
          <a:xfrm>
            <a:off x="445674" y="3727730"/>
            <a:ext cx="5138311" cy="1939644"/>
            <a:chOff x="1087702" y="3727730"/>
            <a:chExt cx="4764699" cy="1939644"/>
          </a:xfrm>
        </p:grpSpPr>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rotWithShape="1">
            <a:blip r:embed="rId7"/>
            <a:srcRect l="15689"/>
            <a:stretch/>
          </p:blipFill>
          <p:spPr>
            <a:xfrm>
              <a:off x="1535836" y="3727731"/>
              <a:ext cx="4316565" cy="1939643"/>
            </a:xfrm>
            <a:prstGeom prst="rect">
              <a:avLst/>
            </a:prstGeom>
            <a:ln>
              <a:noFill/>
            </a:ln>
          </p:spPr>
        </p:pic>
        <p:pic>
          <p:nvPicPr>
            <p:cNvPr id="13" name="Picture 12">
              <a:extLst>
                <a:ext uri="{FF2B5EF4-FFF2-40B4-BE49-F238E27FC236}">
                  <a16:creationId xmlns:a16="http://schemas.microsoft.com/office/drawing/2014/main" id="{D6B4CEFB-A5F6-4221-BC78-DDE8E58F5713}"/>
                </a:ext>
              </a:extLst>
            </p:cNvPr>
            <p:cNvPicPr>
              <a:picLocks noChangeAspect="1"/>
            </p:cNvPicPr>
            <p:nvPr/>
          </p:nvPicPr>
          <p:blipFill rotWithShape="1">
            <a:blip r:embed="rId7"/>
            <a:srcRect r="91247"/>
            <a:stretch/>
          </p:blipFill>
          <p:spPr>
            <a:xfrm>
              <a:off x="1087702" y="3727730"/>
              <a:ext cx="448134" cy="1939643"/>
            </a:xfrm>
            <a:prstGeom prst="rect">
              <a:avLst/>
            </a:prstGeom>
            <a:ln>
              <a:noFill/>
            </a:ln>
          </p:spPr>
        </p:pic>
      </p:grpSp>
      <p:sp>
        <p:nvSpPr>
          <p:cNvPr id="3" name="Rounded Rectangle 2">
            <a:extLst>
              <a:ext uri="{FF2B5EF4-FFF2-40B4-BE49-F238E27FC236}">
                <a16:creationId xmlns:a16="http://schemas.microsoft.com/office/drawing/2014/main" id="{9B2355CE-0066-3D22-E43B-3588C92AFFF3}"/>
              </a:ext>
            </a:extLst>
          </p:cNvPr>
          <p:cNvSpPr/>
          <p:nvPr/>
        </p:nvSpPr>
        <p:spPr>
          <a:xfrm>
            <a:off x="445674" y="3657600"/>
            <a:ext cx="5225552" cy="207737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3">
            <a:extLst>
              <a:ext uri="{FF2B5EF4-FFF2-40B4-BE49-F238E27FC236}">
                <a16:creationId xmlns:a16="http://schemas.microsoft.com/office/drawing/2014/main" id="{CD483359-CE85-8AB6-CF5D-3385019FF697}"/>
              </a:ext>
            </a:extLst>
          </p:cNvPr>
          <p:cNvSpPr/>
          <p:nvPr/>
        </p:nvSpPr>
        <p:spPr>
          <a:xfrm>
            <a:off x="8509665" y="316259"/>
            <a:ext cx="3321678" cy="5418715"/>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n-GB" sz="2000" b="1" dirty="0" err="1">
                <a:solidFill>
                  <a:schemeClr val="bg2"/>
                </a:solidFill>
                <a:latin typeface="Arial Narrow" panose="020B0606020202030204" pitchFamily="34" charset="0"/>
                <a:ea typeface="ＭＳ Ｐゴシック" panose="020B0600070205080204" pitchFamily="34" charset="-128"/>
              </a:rPr>
              <a:t>Regole</a:t>
            </a:r>
            <a:r>
              <a:rPr lang="en-GB" sz="2000" b="1" dirty="0">
                <a:solidFill>
                  <a:schemeClr val="bg2"/>
                </a:solidFill>
                <a:latin typeface="Arial Narrow" panose="020B0606020202030204" pitchFamily="34" charset="0"/>
                <a:ea typeface="ＭＳ Ｐゴシック" panose="020B0600070205080204" pitchFamily="34" charset="-128"/>
              </a:rPr>
              <a:t> di </a:t>
            </a:r>
            <a:r>
              <a:rPr lang="en-GB" sz="2000" b="1" dirty="0" err="1">
                <a:solidFill>
                  <a:schemeClr val="bg2"/>
                </a:solidFill>
                <a:latin typeface="Arial Narrow" panose="020B0606020202030204" pitchFamily="34" charset="0"/>
                <a:ea typeface="ＭＳ Ｐゴシック" panose="020B0600070205080204" pitchFamily="34" charset="-128"/>
              </a:rPr>
              <a:t>Nomenclatura</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it"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La prima lettera indica il tipo di piattaforma aerea, il primo numero è l'altezza al piano di calpestio in piedi (ft) e il secondo numero è lo sbraccio in piedi (ft)</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p>
          <a:p>
            <a:pPr>
              <a:spcBef>
                <a:spcPts val="600"/>
              </a:spcBef>
              <a:buClr>
                <a:schemeClr val="bg2"/>
              </a:buClr>
              <a:buSzPct val="100000"/>
              <a:tabLst>
                <a:tab pos="114300" algn="l"/>
              </a:tabLst>
            </a:pPr>
            <a:r>
              <a:rPr lang="en-GB" sz="1200" b="1" dirty="0" err="1">
                <a:solidFill>
                  <a:schemeClr val="accent3">
                    <a:lumMod val="50000"/>
                  </a:schemeClr>
                </a:solidFill>
                <a:latin typeface="Arial Narrow" panose="020B0606020202030204" pitchFamily="34" charset="0"/>
                <a:ea typeface="ＭＳ Ｐゴシック" panose="020B0600070205080204" pitchFamily="34" charset="-128"/>
              </a:rPr>
              <a:t>Esempio</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28800"/>
              </a:spcBef>
              <a:buClr>
                <a:schemeClr val="bg2"/>
              </a:buClr>
              <a:buSzPct val="100000"/>
              <a:tabLst>
                <a:tab pos="114300" algn="l"/>
              </a:tabLst>
            </a:pPr>
            <a:r>
              <a:rPr lang="it-IT" sz="1200" dirty="0">
                <a:solidFill>
                  <a:schemeClr val="accent3">
                    <a:lumMod val="50000"/>
                  </a:schemeClr>
                </a:solidFill>
                <a:latin typeface="Arial Narrow" panose="020B0606020202030204" pitchFamily="34" charset="0"/>
                <a:ea typeface="ＭＳ Ｐゴシック" panose="020B0600070205080204" pitchFamily="34" charset="-128"/>
              </a:rPr>
              <a:t>Spesso dette anche: Bracci Z, Z, bracci articolati, bracci basculanti, cherry picker, piattaforme di lavoro aereo</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6" name="TextBox 5">
            <a:extLst>
              <a:ext uri="{FF2B5EF4-FFF2-40B4-BE49-F238E27FC236}">
                <a16:creationId xmlns:a16="http://schemas.microsoft.com/office/drawing/2014/main" id="{157E56B3-2610-8492-439C-D831BC056636}"/>
              </a:ext>
            </a:extLst>
          </p:cNvPr>
          <p:cNvSpPr txBox="1"/>
          <p:nvPr/>
        </p:nvSpPr>
        <p:spPr>
          <a:xfrm>
            <a:off x="9204906" y="2081701"/>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45 X</a:t>
            </a:r>
            <a:r>
              <a:rPr lang="en-GB" sz="2800" b="1" dirty="0">
                <a:solidFill>
                  <a:schemeClr val="bg2"/>
                </a:solidFill>
                <a:latin typeface="Arial Narrow" panose="020B0606020202030204" pitchFamily="34" charset="0"/>
                <a:ea typeface="ＭＳ Ｐゴシック" panose="020B0600070205080204" pitchFamily="34" charset="-128"/>
              </a:rPr>
              <a:t>C</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7" name="Rounded Rectangle 6">
            <a:extLst>
              <a:ext uri="{FF2B5EF4-FFF2-40B4-BE49-F238E27FC236}">
                <a16:creationId xmlns:a16="http://schemas.microsoft.com/office/drawing/2014/main" id="{AE96B209-8702-A3FE-B2CE-A910B9D55592}"/>
              </a:ext>
            </a:extLst>
          </p:cNvPr>
          <p:cNvSpPr/>
          <p:nvPr/>
        </p:nvSpPr>
        <p:spPr>
          <a:xfrm>
            <a:off x="8644585" y="2681631"/>
            <a:ext cx="1485685"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ezza piano </a:t>
            </a:r>
            <a:r>
              <a:rPr lang="en-GB" sz="1200" dirty="0" err="1">
                <a:solidFill>
                  <a:schemeClr val="bg1"/>
                </a:solidFill>
                <a:latin typeface="Arial Narrow" panose="020B0606020202030204" pitchFamily="34" charset="0"/>
                <a:ea typeface="ＭＳ Ｐゴシック" panose="020B0600070205080204" pitchFamily="34" charset="-128"/>
              </a:rPr>
              <a:t>calpestio</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45 ft</a:t>
            </a:r>
            <a:endParaRPr lang="en-US" sz="1200" dirty="0">
              <a:solidFill>
                <a:schemeClr val="bg1"/>
              </a:solidFill>
            </a:endParaRPr>
          </a:p>
        </p:txBody>
      </p:sp>
      <p:grpSp>
        <p:nvGrpSpPr>
          <p:cNvPr id="15" name="Group 14">
            <a:extLst>
              <a:ext uri="{FF2B5EF4-FFF2-40B4-BE49-F238E27FC236}">
                <a16:creationId xmlns:a16="http://schemas.microsoft.com/office/drawing/2014/main" id="{71F53778-334B-414B-5A95-E2D26B5A951A}"/>
              </a:ext>
            </a:extLst>
          </p:cNvPr>
          <p:cNvGrpSpPr/>
          <p:nvPr/>
        </p:nvGrpSpPr>
        <p:grpSpPr>
          <a:xfrm flipV="1">
            <a:off x="9319886" y="1991822"/>
            <a:ext cx="130627" cy="170879"/>
            <a:chOff x="9521533" y="2168131"/>
            <a:chExt cx="130627" cy="170879"/>
          </a:xfrm>
        </p:grpSpPr>
        <p:cxnSp>
          <p:nvCxnSpPr>
            <p:cNvPr id="16" name="Straight Arrow Connector 15">
              <a:extLst>
                <a:ext uri="{FF2B5EF4-FFF2-40B4-BE49-F238E27FC236}">
                  <a16:creationId xmlns:a16="http://schemas.microsoft.com/office/drawing/2014/main" id="{38735CFE-EFA7-344F-485A-C207FE3C88A2}"/>
                </a:ext>
              </a:extLst>
            </p:cNvPr>
            <p:cNvCxnSpPr>
              <a:cxnSpLocks/>
            </p:cNvCxnSpPr>
            <p:nvPr/>
          </p:nvCxnSpPr>
          <p:spPr>
            <a:xfrm>
              <a:off x="9581319"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BEC4204-3698-8680-8BCF-971329B73D04}"/>
                </a:ext>
              </a:extLst>
            </p:cNvPr>
            <p:cNvCxnSpPr>
              <a:cxnSpLocks/>
            </p:cNvCxnSpPr>
            <p:nvPr/>
          </p:nvCxnSpPr>
          <p:spPr>
            <a:xfrm>
              <a:off x="9521533" y="2222131"/>
              <a:ext cx="1259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F6B303C-0156-2FAA-BFD4-4BE0BA326AE6}"/>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38BFBA6-3F85-6DB8-1B95-41CBF4F051FD}"/>
                </a:ext>
              </a:extLst>
            </p:cNvPr>
            <p:cNvCxnSpPr>
              <a:cxnSpLocks/>
            </p:cNvCxnSpPr>
            <p:nvPr/>
          </p:nvCxnSpPr>
          <p:spPr>
            <a:xfrm>
              <a:off x="9652160"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2" name="Rounded Rectangle 21">
            <a:extLst>
              <a:ext uri="{FF2B5EF4-FFF2-40B4-BE49-F238E27FC236}">
                <a16:creationId xmlns:a16="http://schemas.microsoft.com/office/drawing/2014/main" id="{DCD5BD00-E60C-B15A-9743-CD018C4F2394}"/>
              </a:ext>
            </a:extLst>
          </p:cNvPr>
          <p:cNvSpPr/>
          <p:nvPr/>
        </p:nvSpPr>
        <p:spPr>
          <a:xfrm>
            <a:off x="8637316" y="1669945"/>
            <a:ext cx="2510387" cy="321606"/>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it-IT" sz="1200" b="1" dirty="0">
                <a:solidFill>
                  <a:schemeClr val="bg1"/>
                </a:solidFill>
                <a:latin typeface="Arial Narrow" panose="020B0606020202030204" pitchFamily="34" charset="0"/>
                <a:ea typeface="ＭＳ Ｐゴシック" panose="020B0600070205080204" pitchFamily="34" charset="-128"/>
              </a:rPr>
              <a:t>Piattaforme a braccio Articolato Genie®</a:t>
            </a:r>
            <a:endParaRPr lang="en-GB" sz="1200" b="1" dirty="0">
              <a:solidFill>
                <a:schemeClr val="bg1"/>
              </a:solidFill>
              <a:latin typeface="Arial Narrow" panose="020B0606020202030204" pitchFamily="34" charset="0"/>
              <a:ea typeface="ＭＳ Ｐゴシック" panose="020B0600070205080204" pitchFamily="34" charset="-128"/>
            </a:endParaRPr>
          </a:p>
        </p:txBody>
      </p:sp>
      <p:sp>
        <p:nvSpPr>
          <p:cNvPr id="24" name="Rounded Rectangle 23">
            <a:extLst>
              <a:ext uri="{FF2B5EF4-FFF2-40B4-BE49-F238E27FC236}">
                <a16:creationId xmlns:a16="http://schemas.microsoft.com/office/drawing/2014/main" id="{7D3E2987-A680-8E20-9FF1-1B9A4D9D129A}"/>
              </a:ext>
            </a:extLst>
          </p:cNvPr>
          <p:cNvSpPr/>
          <p:nvPr/>
        </p:nvSpPr>
        <p:spPr>
          <a:xfrm>
            <a:off x="8644586" y="3682885"/>
            <a:ext cx="1485684"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ezza piano </a:t>
            </a:r>
            <a:r>
              <a:rPr lang="en-GB" sz="1200" dirty="0" err="1">
                <a:solidFill>
                  <a:schemeClr val="bg1"/>
                </a:solidFill>
                <a:latin typeface="Arial Narrow" panose="020B0606020202030204" pitchFamily="34" charset="0"/>
                <a:ea typeface="ＭＳ Ｐゴシック" panose="020B0600070205080204" pitchFamily="34" charset="-128"/>
              </a:rPr>
              <a:t>calpestio</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0 ft</a:t>
            </a:r>
            <a:endParaRPr lang="en-US" sz="1200" dirty="0">
              <a:solidFill>
                <a:schemeClr val="bg1"/>
              </a:solidFill>
            </a:endParaRPr>
          </a:p>
        </p:txBody>
      </p:sp>
      <p:sp>
        <p:nvSpPr>
          <p:cNvPr id="30" name="Rounded Rectangle 29">
            <a:extLst>
              <a:ext uri="{FF2B5EF4-FFF2-40B4-BE49-F238E27FC236}">
                <a16:creationId xmlns:a16="http://schemas.microsoft.com/office/drawing/2014/main" id="{921411B2-02E3-640F-8DA6-829178706DE8}"/>
              </a:ext>
            </a:extLst>
          </p:cNvPr>
          <p:cNvSpPr/>
          <p:nvPr/>
        </p:nvSpPr>
        <p:spPr>
          <a:xfrm>
            <a:off x="10073600" y="4628274"/>
            <a:ext cx="858772" cy="635116"/>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Sbraccio</a:t>
            </a:r>
            <a:r>
              <a:rPr lang="en-GB" sz="1200" dirty="0">
                <a:solidFill>
                  <a:schemeClr val="bg1"/>
                </a:solidFill>
                <a:latin typeface="Arial Narrow" panose="020B0606020202030204" pitchFamily="34" charset="0"/>
                <a:ea typeface="ＭＳ Ｐゴシック" panose="020B0600070205080204" pitchFamily="34" charset="-128"/>
              </a:rPr>
              <a:t> </a:t>
            </a:r>
            <a:r>
              <a:rPr lang="en-GB" sz="1200" dirty="0" err="1">
                <a:solidFill>
                  <a:schemeClr val="bg1"/>
                </a:solidFill>
                <a:latin typeface="Arial Narrow" panose="020B0606020202030204" pitchFamily="34" charset="0"/>
                <a:ea typeface="ＭＳ Ｐゴシック" panose="020B0600070205080204" pitchFamily="34" charset="-128"/>
              </a:rPr>
              <a:t>orizzontal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AU" sz="1200" b="1" dirty="0">
                <a:solidFill>
                  <a:schemeClr val="bg1"/>
                </a:solidFill>
                <a:latin typeface="Arial Narrow" panose="020B0606020202030204" pitchFamily="34" charset="0"/>
                <a:ea typeface="ＭＳ Ｐゴシック" panose="020B0600070205080204" pitchFamily="34" charset="-128"/>
              </a:rPr>
              <a:t>40 ft</a:t>
            </a:r>
            <a:endParaRPr lang="en-US" sz="1200" dirty="0">
              <a:solidFill>
                <a:schemeClr val="bg1"/>
              </a:solidFill>
            </a:endParaRPr>
          </a:p>
        </p:txBody>
      </p:sp>
      <p:grpSp>
        <p:nvGrpSpPr>
          <p:cNvPr id="36" name="Group 35">
            <a:extLst>
              <a:ext uri="{FF2B5EF4-FFF2-40B4-BE49-F238E27FC236}">
                <a16:creationId xmlns:a16="http://schemas.microsoft.com/office/drawing/2014/main" id="{8B666184-BE22-B8DC-0BD2-1C24DB2825C9}"/>
              </a:ext>
            </a:extLst>
          </p:cNvPr>
          <p:cNvGrpSpPr/>
          <p:nvPr/>
        </p:nvGrpSpPr>
        <p:grpSpPr>
          <a:xfrm>
            <a:off x="9756410" y="2516546"/>
            <a:ext cx="284576" cy="162000"/>
            <a:chOff x="9535283" y="2168131"/>
            <a:chExt cx="284576" cy="162000"/>
          </a:xfrm>
        </p:grpSpPr>
        <p:cxnSp>
          <p:nvCxnSpPr>
            <p:cNvPr id="37" name="Straight Arrow Connector 36">
              <a:extLst>
                <a:ext uri="{FF2B5EF4-FFF2-40B4-BE49-F238E27FC236}">
                  <a16:creationId xmlns:a16="http://schemas.microsoft.com/office/drawing/2014/main" id="{916584C4-67C2-6CBA-AB84-D72D4966B5F9}"/>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E8D3B2D-F700-678A-8A78-F93A8FF626F3}"/>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4FE2925-16B9-7157-95EE-751572BB33E1}"/>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EE530C6-10EA-2CCA-A39C-2475F3519C10}"/>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6" name="Rounded Rectangle 45">
            <a:extLst>
              <a:ext uri="{FF2B5EF4-FFF2-40B4-BE49-F238E27FC236}">
                <a16:creationId xmlns:a16="http://schemas.microsoft.com/office/drawing/2014/main" id="{C4F8ADF3-30EF-315D-14C4-FB3218CDC8A4}"/>
              </a:ext>
            </a:extLst>
          </p:cNvPr>
          <p:cNvSpPr/>
          <p:nvPr/>
        </p:nvSpPr>
        <p:spPr>
          <a:xfrm>
            <a:off x="10215182" y="2690181"/>
            <a:ext cx="1151399" cy="4146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err="1">
                <a:solidFill>
                  <a:schemeClr val="bg1"/>
                </a:solidFill>
                <a:latin typeface="Arial Narrow" panose="020B0606020202030204" pitchFamily="34" charset="0"/>
                <a:ea typeface="ＭＳ Ｐゴシック" panose="020B0600070205080204" pitchFamily="34" charset="-128"/>
              </a:rPr>
              <a:t>Xtra</a:t>
            </a:r>
            <a:r>
              <a:rPr lang="en-AU" sz="1200" b="1" dirty="0">
                <a:solidFill>
                  <a:schemeClr val="bg1"/>
                </a:solidFill>
                <a:latin typeface="Arial Narrow" panose="020B0606020202030204" pitchFamily="34" charset="0"/>
                <a:ea typeface="ＭＳ Ｐゴシック" panose="020B0600070205080204" pitchFamily="34" charset="-128"/>
              </a:rPr>
              <a:t> Capacity</a:t>
            </a:r>
            <a:r>
              <a:rPr lang="en-AU" sz="1200" b="1" baseline="30000" dirty="0">
                <a:solidFill>
                  <a:schemeClr val="bg1"/>
                </a:solidFill>
                <a:latin typeface="Arial Narrow" panose="020B0606020202030204" pitchFamily="34" charset="0"/>
                <a:ea typeface="ＭＳ Ｐゴシック" panose="020B0600070205080204" pitchFamily="34" charset="-128"/>
              </a:rPr>
              <a:t>™</a:t>
            </a:r>
          </a:p>
        </p:txBody>
      </p:sp>
      <p:sp>
        <p:nvSpPr>
          <p:cNvPr id="105" name="TextBox 104">
            <a:extLst>
              <a:ext uri="{FF2B5EF4-FFF2-40B4-BE49-F238E27FC236}">
                <a16:creationId xmlns:a16="http://schemas.microsoft.com/office/drawing/2014/main" id="{EB5F3C88-BEEF-3E4A-D901-5B83FA29D0BC}"/>
              </a:ext>
            </a:extLst>
          </p:cNvPr>
          <p:cNvSpPr txBox="1"/>
          <p:nvPr/>
        </p:nvSpPr>
        <p:spPr>
          <a:xfrm>
            <a:off x="9219893" y="3104844"/>
            <a:ext cx="165540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FE</a:t>
            </a:r>
            <a:endParaRPr lang="en-US" sz="1600" spc="300" baseline="80000" dirty="0">
              <a:solidFill>
                <a:schemeClr val="bg2"/>
              </a:solidFill>
            </a:endParaRPr>
          </a:p>
        </p:txBody>
      </p:sp>
      <p:sp>
        <p:nvSpPr>
          <p:cNvPr id="125" name="Rounded Rectangle 124">
            <a:extLst>
              <a:ext uri="{FF2B5EF4-FFF2-40B4-BE49-F238E27FC236}">
                <a16:creationId xmlns:a16="http://schemas.microsoft.com/office/drawing/2014/main" id="{491A869D-AC82-A61C-0798-86EF8D79AF37}"/>
              </a:ext>
            </a:extLst>
          </p:cNvPr>
          <p:cNvSpPr/>
          <p:nvPr/>
        </p:nvSpPr>
        <p:spPr>
          <a:xfrm>
            <a:off x="8644585" y="4693539"/>
            <a:ext cx="1388817"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ezza piano </a:t>
            </a:r>
            <a:r>
              <a:rPr lang="en-GB" sz="1200" dirty="0" err="1">
                <a:solidFill>
                  <a:schemeClr val="bg1"/>
                </a:solidFill>
                <a:latin typeface="Arial Narrow" panose="020B0606020202030204" pitchFamily="34" charset="0"/>
                <a:ea typeface="ＭＳ Ｐゴシック" panose="020B0600070205080204" pitchFamily="34" charset="-128"/>
              </a:rPr>
              <a:t>calpestio</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0 ft</a:t>
            </a:r>
            <a:endParaRPr lang="en-US" sz="1200" dirty="0">
              <a:solidFill>
                <a:schemeClr val="bg1"/>
              </a:solidFill>
            </a:endParaRPr>
          </a:p>
        </p:txBody>
      </p:sp>
      <p:sp>
        <p:nvSpPr>
          <p:cNvPr id="131" name="TextBox 130">
            <a:extLst>
              <a:ext uri="{FF2B5EF4-FFF2-40B4-BE49-F238E27FC236}">
                <a16:creationId xmlns:a16="http://schemas.microsoft.com/office/drawing/2014/main" id="{9882E874-B845-DFAF-E4FC-E3FD5A95B040}"/>
              </a:ext>
            </a:extLst>
          </p:cNvPr>
          <p:cNvSpPr txBox="1"/>
          <p:nvPr/>
        </p:nvSpPr>
        <p:spPr>
          <a:xfrm>
            <a:off x="9204906" y="4115498"/>
            <a:ext cx="2472110"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40 TraX</a:t>
            </a:r>
            <a:endParaRPr lang="en-US" sz="1600" spc="300" baseline="80000" dirty="0">
              <a:solidFill>
                <a:schemeClr val="bg2"/>
              </a:solidFill>
            </a:endParaRPr>
          </a:p>
        </p:txBody>
      </p:sp>
      <p:sp>
        <p:nvSpPr>
          <p:cNvPr id="139" name="Rounded Rectangle 138">
            <a:extLst>
              <a:ext uri="{FF2B5EF4-FFF2-40B4-BE49-F238E27FC236}">
                <a16:creationId xmlns:a16="http://schemas.microsoft.com/office/drawing/2014/main" id="{87DD8D2A-3CB0-9A32-9457-575F67C9E290}"/>
              </a:ext>
            </a:extLst>
          </p:cNvPr>
          <p:cNvSpPr/>
          <p:nvPr/>
        </p:nvSpPr>
        <p:spPr>
          <a:xfrm>
            <a:off x="10972570" y="4638718"/>
            <a:ext cx="858772" cy="624671"/>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it-IT" sz="1200" b="1" dirty="0">
                <a:solidFill>
                  <a:schemeClr val="bg1"/>
                </a:solidFill>
                <a:latin typeface="Arial Narrow" panose="020B0606020202030204" pitchFamily="34" charset="0"/>
                <a:ea typeface="ＭＳ Ｐゴシック" panose="020B0600070205080204" pitchFamily="34" charset="-128"/>
              </a:rPr>
              <a:t>Sistema di 4 cingoli indipendenti</a:t>
            </a:r>
            <a:endParaRPr lang="en-AU" sz="1200" b="1" dirty="0">
              <a:solidFill>
                <a:schemeClr val="bg1"/>
              </a:solidFill>
              <a:latin typeface="Arial Narrow" panose="020B0606020202030204" pitchFamily="34" charset="0"/>
              <a:ea typeface="ＭＳ Ｐゴシック" panose="020B0600070205080204" pitchFamily="34" charset="-128"/>
            </a:endParaRPr>
          </a:p>
        </p:txBody>
      </p:sp>
      <p:grpSp>
        <p:nvGrpSpPr>
          <p:cNvPr id="126" name="Group 125">
            <a:extLst>
              <a:ext uri="{FF2B5EF4-FFF2-40B4-BE49-F238E27FC236}">
                <a16:creationId xmlns:a16="http://schemas.microsoft.com/office/drawing/2014/main" id="{1969FA27-2573-0253-5A7D-143A93F7C5AC}"/>
              </a:ext>
            </a:extLst>
          </p:cNvPr>
          <p:cNvGrpSpPr/>
          <p:nvPr/>
        </p:nvGrpSpPr>
        <p:grpSpPr>
          <a:xfrm>
            <a:off x="9759797" y="4535952"/>
            <a:ext cx="284576" cy="162000"/>
            <a:chOff x="9535283" y="2168131"/>
            <a:chExt cx="284576" cy="162000"/>
          </a:xfrm>
        </p:grpSpPr>
        <p:cxnSp>
          <p:nvCxnSpPr>
            <p:cNvPr id="127" name="Straight Arrow Connector 126">
              <a:extLst>
                <a:ext uri="{FF2B5EF4-FFF2-40B4-BE49-F238E27FC236}">
                  <a16:creationId xmlns:a16="http://schemas.microsoft.com/office/drawing/2014/main" id="{0727A760-2256-9C38-0383-5A46B0B1BAF2}"/>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64F0490-3518-A51F-96A9-5C6C80FCA148}"/>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3E83950-7729-A858-7AEA-4F993A46739D}"/>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4956E862-AF84-D508-E728-706812EA3F44}"/>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C5DCD224-2ECF-9191-0AA7-4238BA926128}"/>
              </a:ext>
            </a:extLst>
          </p:cNvPr>
          <p:cNvGrpSpPr/>
          <p:nvPr/>
        </p:nvGrpSpPr>
        <p:grpSpPr>
          <a:xfrm>
            <a:off x="10275436" y="4535952"/>
            <a:ext cx="284576" cy="162000"/>
            <a:chOff x="9535283" y="2168131"/>
            <a:chExt cx="284576" cy="162000"/>
          </a:xfrm>
        </p:grpSpPr>
        <p:cxnSp>
          <p:nvCxnSpPr>
            <p:cNvPr id="141" name="Straight Arrow Connector 140">
              <a:extLst>
                <a:ext uri="{FF2B5EF4-FFF2-40B4-BE49-F238E27FC236}">
                  <a16:creationId xmlns:a16="http://schemas.microsoft.com/office/drawing/2014/main" id="{46DF02A0-F81D-E5A9-E81A-F0E0A6422D0E}"/>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E161CA6-59A6-9E37-DCEA-C29EDB9CB53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6AA767D-8C9B-6185-A146-5FB1F7156CE1}"/>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15A83E20-2108-AFAB-1158-78067DF372BF}"/>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BDA4E75D-CB5E-9D89-84F8-2CD3E2EB1437}"/>
              </a:ext>
            </a:extLst>
          </p:cNvPr>
          <p:cNvGrpSpPr/>
          <p:nvPr/>
        </p:nvGrpSpPr>
        <p:grpSpPr>
          <a:xfrm>
            <a:off x="10804825" y="4535952"/>
            <a:ext cx="721896" cy="162000"/>
            <a:chOff x="9535283" y="2168131"/>
            <a:chExt cx="721896" cy="162000"/>
          </a:xfrm>
        </p:grpSpPr>
        <p:cxnSp>
          <p:nvCxnSpPr>
            <p:cNvPr id="146" name="Straight Arrow Connector 145">
              <a:extLst>
                <a:ext uri="{FF2B5EF4-FFF2-40B4-BE49-F238E27FC236}">
                  <a16:creationId xmlns:a16="http://schemas.microsoft.com/office/drawing/2014/main" id="{C5706F5B-F373-3CF3-CCE9-411D8C472C0E}"/>
                </a:ext>
              </a:extLst>
            </p:cNvPr>
            <p:cNvCxnSpPr>
              <a:cxnSpLocks/>
            </p:cNvCxnSpPr>
            <p:nvPr/>
          </p:nvCxnSpPr>
          <p:spPr>
            <a:xfrm>
              <a:off x="9897577"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FED7DB5-4659-C384-D837-10011CB1E85C}"/>
                </a:ext>
              </a:extLst>
            </p:cNvPr>
            <p:cNvCxnSpPr>
              <a:cxnSpLocks/>
            </p:cNvCxnSpPr>
            <p:nvPr/>
          </p:nvCxnSpPr>
          <p:spPr>
            <a:xfrm>
              <a:off x="9535283" y="2222131"/>
              <a:ext cx="72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558C0937-90A5-F737-4C5A-5D99E25185B7}"/>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838CBAF-786B-62CD-9BE1-7183568E55E4}"/>
                </a:ext>
              </a:extLst>
            </p:cNvPr>
            <p:cNvCxnSpPr>
              <a:cxnSpLocks/>
            </p:cNvCxnSpPr>
            <p:nvPr/>
          </p:nvCxnSpPr>
          <p:spPr>
            <a:xfrm>
              <a:off x="10257179"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50" name="Rounded Rectangle 149">
            <a:extLst>
              <a:ext uri="{FF2B5EF4-FFF2-40B4-BE49-F238E27FC236}">
                <a16:creationId xmlns:a16="http://schemas.microsoft.com/office/drawing/2014/main" id="{6AB19DAB-C788-DF52-8A43-DF26398B91AC}"/>
              </a:ext>
            </a:extLst>
          </p:cNvPr>
          <p:cNvSpPr/>
          <p:nvPr/>
        </p:nvSpPr>
        <p:spPr>
          <a:xfrm>
            <a:off x="10211314" y="3678420"/>
            <a:ext cx="1151398"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Fuel Electric (</a:t>
            </a:r>
            <a:r>
              <a:rPr lang="en-AU" sz="1200" b="1" dirty="0" err="1">
                <a:solidFill>
                  <a:schemeClr val="bg1"/>
                </a:solidFill>
                <a:latin typeface="Arial Narrow" panose="020B0606020202030204" pitchFamily="34" charset="0"/>
                <a:ea typeface="ＭＳ Ｐゴシック" panose="020B0600070205080204" pitchFamily="34" charset="-128"/>
              </a:rPr>
              <a:t>Ibrido</a:t>
            </a:r>
            <a:r>
              <a:rPr lang="en-AU" sz="1200" b="1" dirty="0">
                <a:solidFill>
                  <a:schemeClr val="bg1"/>
                </a:solidFill>
                <a:latin typeface="Arial Narrow" panose="020B0606020202030204" pitchFamily="34" charset="0"/>
                <a:ea typeface="ＭＳ Ｐゴシック" panose="020B0600070205080204" pitchFamily="34" charset="-128"/>
              </a:rPr>
              <a:t>)</a:t>
            </a:r>
          </a:p>
        </p:txBody>
      </p:sp>
      <p:grpSp>
        <p:nvGrpSpPr>
          <p:cNvPr id="25" name="Group 24">
            <a:extLst>
              <a:ext uri="{FF2B5EF4-FFF2-40B4-BE49-F238E27FC236}">
                <a16:creationId xmlns:a16="http://schemas.microsoft.com/office/drawing/2014/main" id="{44399290-2D0F-5505-5250-E46A9D9557F1}"/>
              </a:ext>
            </a:extLst>
          </p:cNvPr>
          <p:cNvGrpSpPr/>
          <p:nvPr/>
        </p:nvGrpSpPr>
        <p:grpSpPr>
          <a:xfrm>
            <a:off x="9774784" y="3525298"/>
            <a:ext cx="284576" cy="162000"/>
            <a:chOff x="9535283" y="2168131"/>
            <a:chExt cx="284576" cy="162000"/>
          </a:xfrm>
        </p:grpSpPr>
        <p:cxnSp>
          <p:nvCxnSpPr>
            <p:cNvPr id="26" name="Straight Arrow Connector 25">
              <a:extLst>
                <a:ext uri="{FF2B5EF4-FFF2-40B4-BE49-F238E27FC236}">
                  <a16:creationId xmlns:a16="http://schemas.microsoft.com/office/drawing/2014/main" id="{FB14AF0A-C6B2-7768-154B-7FCF030E7E45}"/>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C5B0851-3634-3A97-DFFF-C87F3F491CAC}"/>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B72F34-8B0B-501D-2BA1-CC4EB2C35ED8}"/>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3501A7-9051-4EC7-B056-FBE63477EB3F}"/>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A385FC87-B724-4204-6558-10BAD08A2148}"/>
              </a:ext>
            </a:extLst>
          </p:cNvPr>
          <p:cNvGrpSpPr/>
          <p:nvPr/>
        </p:nvGrpSpPr>
        <p:grpSpPr>
          <a:xfrm>
            <a:off x="10290423" y="3525298"/>
            <a:ext cx="360000" cy="162000"/>
            <a:chOff x="9535283" y="2168131"/>
            <a:chExt cx="360000" cy="162000"/>
          </a:xfrm>
        </p:grpSpPr>
        <p:cxnSp>
          <p:nvCxnSpPr>
            <p:cNvPr id="152" name="Straight Arrow Connector 151">
              <a:extLst>
                <a:ext uri="{FF2B5EF4-FFF2-40B4-BE49-F238E27FC236}">
                  <a16:creationId xmlns:a16="http://schemas.microsoft.com/office/drawing/2014/main" id="{A8F5C6D8-AB37-3367-8684-7D4BA72DEB0D}"/>
                </a:ext>
              </a:extLst>
            </p:cNvPr>
            <p:cNvCxnSpPr>
              <a:cxnSpLocks/>
            </p:cNvCxnSpPr>
            <p:nvPr/>
          </p:nvCxnSpPr>
          <p:spPr>
            <a:xfrm>
              <a:off x="971882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21AD1798-971D-DDB6-9299-EDF7D102CE3C}"/>
                </a:ext>
              </a:extLst>
            </p:cNvPr>
            <p:cNvCxnSpPr>
              <a:cxnSpLocks/>
            </p:cNvCxnSpPr>
            <p:nvPr/>
          </p:nvCxnSpPr>
          <p:spPr>
            <a:xfrm>
              <a:off x="9535283" y="2222131"/>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21215208-9870-3F0C-FD21-3A5FDEDBAE38}"/>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EC315B08-C5DB-6737-A541-DCA58EC02DA1}"/>
                </a:ext>
              </a:extLst>
            </p:cNvPr>
            <p:cNvCxnSpPr>
              <a:cxnSpLocks/>
            </p:cNvCxnSpPr>
            <p:nvPr/>
          </p:nvCxnSpPr>
          <p:spPr>
            <a:xfrm>
              <a:off x="9892791"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73B5B0F2-F8A8-1F34-4BFE-22364A93F3F6}"/>
              </a:ext>
            </a:extLst>
          </p:cNvPr>
          <p:cNvGrpSpPr/>
          <p:nvPr/>
        </p:nvGrpSpPr>
        <p:grpSpPr>
          <a:xfrm>
            <a:off x="10275436" y="2514645"/>
            <a:ext cx="360000" cy="162000"/>
            <a:chOff x="9535283" y="2168131"/>
            <a:chExt cx="360000" cy="162000"/>
          </a:xfrm>
        </p:grpSpPr>
        <p:cxnSp>
          <p:nvCxnSpPr>
            <p:cNvPr id="157" name="Straight Arrow Connector 156">
              <a:extLst>
                <a:ext uri="{FF2B5EF4-FFF2-40B4-BE49-F238E27FC236}">
                  <a16:creationId xmlns:a16="http://schemas.microsoft.com/office/drawing/2014/main" id="{BA2EDF16-0998-5CDA-F74E-A217C904D00E}"/>
                </a:ext>
              </a:extLst>
            </p:cNvPr>
            <p:cNvCxnSpPr>
              <a:cxnSpLocks/>
            </p:cNvCxnSpPr>
            <p:nvPr/>
          </p:nvCxnSpPr>
          <p:spPr>
            <a:xfrm>
              <a:off x="971882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D0BDDB7-C338-FFA1-CCEB-0E4EE6D3A6C0}"/>
                </a:ext>
              </a:extLst>
            </p:cNvPr>
            <p:cNvCxnSpPr>
              <a:cxnSpLocks/>
            </p:cNvCxnSpPr>
            <p:nvPr/>
          </p:nvCxnSpPr>
          <p:spPr>
            <a:xfrm>
              <a:off x="9535283" y="2222131"/>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E2CB3848-50F9-BE93-EF2E-929A84202B57}"/>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41CC506D-D96E-DEDD-56B9-09A3F3226A78}"/>
                </a:ext>
              </a:extLst>
            </p:cNvPr>
            <p:cNvCxnSpPr>
              <a:cxnSpLocks/>
            </p:cNvCxnSpPr>
            <p:nvPr/>
          </p:nvCxnSpPr>
          <p:spPr>
            <a:xfrm>
              <a:off x="9892791"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49261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8" y="251251"/>
            <a:ext cx="8159147" cy="640080"/>
          </a:xfrm>
        </p:spPr>
        <p:txBody>
          <a:bodyPr anchor="t">
            <a:normAutofit/>
          </a:bodyPr>
          <a:lstStyle/>
          <a:p>
            <a:r>
              <a:rPr lang="it" b="1" i="0" u="none" baseline="0" dirty="0"/>
              <a:t>Piattaforme a Braccio Telescopico</a:t>
            </a:r>
            <a:endParaRPr lang="en-US"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577341"/>
            <a:ext cx="4327162" cy="2077376"/>
          </a:xfrm>
        </p:spPr>
        <p:txBody>
          <a:bodyPr/>
          <a:lstStyle/>
          <a:p>
            <a:pPr>
              <a:spcBef>
                <a:spcPts val="600"/>
              </a:spcBef>
              <a:spcAft>
                <a:spcPts val="300"/>
              </a:spcAft>
            </a:pPr>
            <a:r>
              <a:rPr lang="en-US" b="1" dirty="0" err="1"/>
              <a:t>Applicazioni</a:t>
            </a:r>
            <a:r>
              <a:rPr lang="en-US" b="1" dirty="0"/>
              <a:t>:</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Manutenzione e costruzioni all’aperto</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Lavori su strade e pont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Montaggio di strutture in acciaio e finiture esterne</a:t>
            </a:r>
            <a:endParaRPr lang="it"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4" y="748854"/>
            <a:ext cx="8159364" cy="452454"/>
          </a:xfrm>
        </p:spPr>
        <p:txBody>
          <a:bodyPr/>
          <a:lstStyle/>
          <a:p>
            <a:pPr algn="l" rtl="0"/>
            <a:r>
              <a:rPr lang="it" b="1" i="0" u="none" baseline="0" dirty="0"/>
              <a:t>Maggior sbraccio orizzontale con posizionamento preciso</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80962" y="3706239"/>
            <a:ext cx="4327162" cy="2009280"/>
          </a:xfrm>
          <a:prstGeom prst="rect">
            <a:avLst/>
          </a:prstGeom>
          <a:ln>
            <a:noFill/>
          </a:ln>
        </p:spPr>
      </p:pic>
      <p:pic>
        <p:nvPicPr>
          <p:cNvPr id="18" name="Picture 17" descr="A picture containing outdoor, sky, ground, farm machine&#10;&#10;Description automatically generated">
            <a:extLst>
              <a:ext uri="{FF2B5EF4-FFF2-40B4-BE49-F238E27FC236}">
                <a16:creationId xmlns:a16="http://schemas.microsoft.com/office/drawing/2014/main" id="{2A60AFAA-9945-4BFD-AE0E-49CB714D174F}"/>
              </a:ext>
            </a:extLst>
          </p:cNvPr>
          <p:cNvPicPr>
            <a:picLocks/>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512000"/>
          </a:xfrm>
          <a:prstGeom prst="roundRect">
            <a:avLst>
              <a:gd name="adj" fmla="val 3020"/>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oundRect">
            <a:avLst>
              <a:gd name="adj" fmla="val 4507"/>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oundRect">
            <a:avLst>
              <a:gd name="adj" fmla="val 3832"/>
            </a:avLst>
          </a:prstGeom>
        </p:spPr>
      </p:pic>
      <p:pic>
        <p:nvPicPr>
          <p:cNvPr id="25" name="Picture 24" descr="A picture containing building, outdoor, city, apartment building&#10;&#10;Description automatically generated">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oundRect">
            <a:avLst>
              <a:gd name="adj" fmla="val 3419"/>
            </a:avLst>
          </a:prstGeom>
        </p:spPr>
      </p:pic>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Rounded Rectangle 1">
            <a:extLst>
              <a:ext uri="{FF2B5EF4-FFF2-40B4-BE49-F238E27FC236}">
                <a16:creationId xmlns:a16="http://schemas.microsoft.com/office/drawing/2014/main" id="{D09402CF-299E-8B11-EAE9-C9491C9FCCD9}"/>
              </a:ext>
            </a:extLst>
          </p:cNvPr>
          <p:cNvSpPr/>
          <p:nvPr/>
        </p:nvSpPr>
        <p:spPr>
          <a:xfrm>
            <a:off x="445674" y="3657600"/>
            <a:ext cx="4262450" cy="207737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1B8B7A5C-7D70-4B6F-8BBE-36A17E9BECBF}"/>
              </a:ext>
            </a:extLst>
          </p:cNvPr>
          <p:cNvSpPr/>
          <p:nvPr/>
        </p:nvSpPr>
        <p:spPr>
          <a:xfrm>
            <a:off x="8509665" y="316260"/>
            <a:ext cx="3497456" cy="5589866"/>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t" anchorCtr="0"/>
          <a:lstStyle/>
          <a:p>
            <a:pPr>
              <a:spcBef>
                <a:spcPct val="65000"/>
              </a:spcBef>
              <a:buClr>
                <a:srgbClr val="565958"/>
              </a:buClr>
              <a:buSzPct val="80000"/>
              <a:tabLst>
                <a:tab pos="114300" algn="l"/>
              </a:tabLst>
            </a:pPr>
            <a:r>
              <a:rPr lang="en-GB" sz="2000" b="1" dirty="0" err="1">
                <a:solidFill>
                  <a:schemeClr val="bg2"/>
                </a:solidFill>
                <a:latin typeface="Arial Narrow" panose="020B0606020202030204" pitchFamily="34" charset="0"/>
                <a:ea typeface="ＭＳ Ｐゴシック" panose="020B0600070205080204" pitchFamily="34" charset="-128"/>
              </a:rPr>
              <a:t>Regole</a:t>
            </a:r>
            <a:r>
              <a:rPr lang="en-GB" sz="2000" b="1" dirty="0">
                <a:solidFill>
                  <a:schemeClr val="bg2"/>
                </a:solidFill>
                <a:latin typeface="Arial Narrow" panose="020B0606020202030204" pitchFamily="34" charset="0"/>
                <a:ea typeface="ＭＳ Ｐゴシック" panose="020B0600070205080204" pitchFamily="34" charset="-128"/>
              </a:rPr>
              <a:t> di </a:t>
            </a:r>
            <a:r>
              <a:rPr lang="en-GB" sz="2000" b="1" dirty="0" err="1">
                <a:solidFill>
                  <a:schemeClr val="bg2"/>
                </a:solidFill>
                <a:latin typeface="Arial Narrow" panose="020B0606020202030204" pitchFamily="34" charset="0"/>
                <a:ea typeface="ＭＳ Ｐゴシック" panose="020B0600070205080204" pitchFamily="34" charset="-128"/>
              </a:rPr>
              <a:t>Nomenclatura</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it"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La prima lettera indica il tipo di piattaforma, il primo numero l'altezza del piano di calpestio in piedi (ft) e il 5 aggiunto alla decina corrisponde al jib di 1,52 m (5 piedi)</a:t>
            </a:r>
            <a:r>
              <a:rPr lang="en-GB" sz="1200" spc="-10"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600"/>
              </a:spcBef>
              <a:buClr>
                <a:schemeClr val="bg2"/>
              </a:buClr>
              <a:buSzPct val="100000"/>
              <a:tabLst>
                <a:tab pos="114300" algn="l"/>
              </a:tabLst>
            </a:pPr>
            <a:r>
              <a:rPr lang="en-GB" sz="1200" b="1" dirty="0" err="1">
                <a:solidFill>
                  <a:schemeClr val="accent3">
                    <a:lumMod val="50000"/>
                  </a:schemeClr>
                </a:solidFill>
                <a:latin typeface="Arial Narrow" panose="020B0606020202030204" pitchFamily="34" charset="0"/>
                <a:ea typeface="ＭＳ Ｐゴシック" panose="020B0600070205080204" pitchFamily="34" charset="-128"/>
              </a:rPr>
              <a:t>Esempio</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30000"/>
              </a:spcBef>
              <a:buClr>
                <a:schemeClr val="bg2"/>
              </a:buClr>
              <a:buSzPct val="100000"/>
              <a:tabLst>
                <a:tab pos="114300" algn="l"/>
              </a:tabLst>
            </a:pPr>
            <a:r>
              <a:rPr lang="it-IT" sz="1200" spc="-10" dirty="0">
                <a:solidFill>
                  <a:schemeClr val="accent3">
                    <a:lumMod val="50000"/>
                  </a:schemeClr>
                </a:solidFill>
                <a:latin typeface="Arial Narrow" panose="020B0606020202030204" pitchFamily="34" charset="0"/>
                <a:ea typeface="ＭＳ Ｐゴシック" panose="020B0600070205080204" pitchFamily="34" charset="-128"/>
              </a:rPr>
              <a:t>Anche conosciuti come bracci diritti o piattaforme di lavoro aereo</a:t>
            </a:r>
            <a:r>
              <a:rPr lang="en-GB" sz="1200" spc="-1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7" name="TextBox 6">
            <a:extLst>
              <a:ext uri="{FF2B5EF4-FFF2-40B4-BE49-F238E27FC236}">
                <a16:creationId xmlns:a16="http://schemas.microsoft.com/office/drawing/2014/main" id="{869E3910-7D17-1C8A-6804-9AFF89B80719}"/>
              </a:ext>
            </a:extLst>
          </p:cNvPr>
          <p:cNvSpPr txBox="1"/>
          <p:nvPr/>
        </p:nvSpPr>
        <p:spPr>
          <a:xfrm>
            <a:off x="8530351" y="2081701"/>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5 X</a:t>
            </a:r>
            <a:r>
              <a:rPr lang="en-GB" sz="2800" b="1" dirty="0">
                <a:solidFill>
                  <a:schemeClr val="bg2"/>
                </a:solidFill>
                <a:latin typeface="Arial Narrow" panose="020B0606020202030204" pitchFamily="34" charset="0"/>
                <a:ea typeface="ＭＳ Ｐゴシック" panose="020B0600070205080204" pitchFamily="34" charset="-128"/>
              </a:rPr>
              <a:t>C</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8" name="Rounded Rectangle 7">
            <a:extLst>
              <a:ext uri="{FF2B5EF4-FFF2-40B4-BE49-F238E27FC236}">
                <a16:creationId xmlns:a16="http://schemas.microsoft.com/office/drawing/2014/main" id="{BBD2CA59-CA35-7FAD-53F2-27951FEDDEB1}"/>
              </a:ext>
            </a:extLst>
          </p:cNvPr>
          <p:cNvSpPr/>
          <p:nvPr/>
        </p:nvSpPr>
        <p:spPr>
          <a:xfrm>
            <a:off x="8644585" y="2681631"/>
            <a:ext cx="153315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Altezza al piano </a:t>
            </a:r>
            <a:r>
              <a:rPr lang="en-GB" sz="1200" dirty="0" err="1">
                <a:solidFill>
                  <a:schemeClr val="bg1"/>
                </a:solidFill>
                <a:latin typeface="Arial Narrow" panose="020B0606020202030204" pitchFamily="34" charset="0"/>
                <a:ea typeface="ＭＳ Ｐゴシック" panose="020B0600070205080204" pitchFamily="34" charset="-128"/>
              </a:rPr>
              <a:t>calpestio</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5 ft</a:t>
            </a:r>
            <a:endParaRPr lang="en-US" sz="1200" dirty="0">
              <a:solidFill>
                <a:schemeClr val="bg1"/>
              </a:solidFill>
            </a:endParaRPr>
          </a:p>
        </p:txBody>
      </p:sp>
      <p:grpSp>
        <p:nvGrpSpPr>
          <p:cNvPr id="9" name="Group 8">
            <a:extLst>
              <a:ext uri="{FF2B5EF4-FFF2-40B4-BE49-F238E27FC236}">
                <a16:creationId xmlns:a16="http://schemas.microsoft.com/office/drawing/2014/main" id="{112AA514-DD5F-1F7A-308C-85728BED37FE}"/>
              </a:ext>
            </a:extLst>
          </p:cNvPr>
          <p:cNvGrpSpPr/>
          <p:nvPr/>
        </p:nvGrpSpPr>
        <p:grpSpPr>
          <a:xfrm flipV="1">
            <a:off x="8645331" y="1991822"/>
            <a:ext cx="130627" cy="170879"/>
            <a:chOff x="9521533" y="2168131"/>
            <a:chExt cx="130627" cy="170879"/>
          </a:xfrm>
        </p:grpSpPr>
        <p:cxnSp>
          <p:nvCxnSpPr>
            <p:cNvPr id="10" name="Straight Arrow Connector 9">
              <a:extLst>
                <a:ext uri="{FF2B5EF4-FFF2-40B4-BE49-F238E27FC236}">
                  <a16:creationId xmlns:a16="http://schemas.microsoft.com/office/drawing/2014/main" id="{BB3DABB5-EF3C-8F14-A66A-2A2A4BAA9194}"/>
                </a:ext>
              </a:extLst>
            </p:cNvPr>
            <p:cNvCxnSpPr>
              <a:cxnSpLocks/>
            </p:cNvCxnSpPr>
            <p:nvPr/>
          </p:nvCxnSpPr>
          <p:spPr>
            <a:xfrm>
              <a:off x="9581319"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CB48D7B-CF4C-204B-34BD-8DA85E9925FC}"/>
                </a:ext>
              </a:extLst>
            </p:cNvPr>
            <p:cNvCxnSpPr>
              <a:cxnSpLocks/>
            </p:cNvCxnSpPr>
            <p:nvPr/>
          </p:nvCxnSpPr>
          <p:spPr>
            <a:xfrm>
              <a:off x="9521533" y="2222131"/>
              <a:ext cx="1259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2794737-4923-BC19-6CEB-F67472B19E9D}"/>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BAE4A44-1153-329F-31A8-9793BDDB74B3}"/>
                </a:ext>
              </a:extLst>
            </p:cNvPr>
            <p:cNvCxnSpPr>
              <a:cxnSpLocks/>
            </p:cNvCxnSpPr>
            <p:nvPr/>
          </p:nvCxnSpPr>
          <p:spPr>
            <a:xfrm>
              <a:off x="9652160"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7" name="Rounded Rectangle 16">
            <a:extLst>
              <a:ext uri="{FF2B5EF4-FFF2-40B4-BE49-F238E27FC236}">
                <a16:creationId xmlns:a16="http://schemas.microsoft.com/office/drawing/2014/main" id="{BE23928B-A5F4-2671-039A-080BAF96DC99}"/>
              </a:ext>
            </a:extLst>
          </p:cNvPr>
          <p:cNvSpPr/>
          <p:nvPr/>
        </p:nvSpPr>
        <p:spPr>
          <a:xfrm>
            <a:off x="8637316" y="1669945"/>
            <a:ext cx="2618151" cy="335046"/>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it-IT" sz="1200" b="1" dirty="0">
                <a:solidFill>
                  <a:schemeClr val="bg1"/>
                </a:solidFill>
                <a:latin typeface="Arial Narrow" panose="020B0606020202030204" pitchFamily="34" charset="0"/>
                <a:ea typeface="ＭＳ Ｐゴシック" panose="020B0600070205080204" pitchFamily="34" charset="-128"/>
              </a:rPr>
              <a:t>Piattaforme a braccio Telescopico Genie®</a:t>
            </a:r>
            <a:endParaRPr lang="en-GB" sz="1200" b="1" dirty="0">
              <a:solidFill>
                <a:schemeClr val="bg1"/>
              </a:solidFill>
              <a:latin typeface="Arial Narrow" panose="020B0606020202030204" pitchFamily="34" charset="0"/>
              <a:ea typeface="ＭＳ Ｐゴシック" panose="020B0600070205080204" pitchFamily="34" charset="-128"/>
            </a:endParaRPr>
          </a:p>
        </p:txBody>
      </p:sp>
      <p:grpSp>
        <p:nvGrpSpPr>
          <p:cNvPr id="22" name="Group 21">
            <a:extLst>
              <a:ext uri="{FF2B5EF4-FFF2-40B4-BE49-F238E27FC236}">
                <a16:creationId xmlns:a16="http://schemas.microsoft.com/office/drawing/2014/main" id="{8B3D185A-10B6-6A70-4B5B-E21025031951}"/>
              </a:ext>
            </a:extLst>
          </p:cNvPr>
          <p:cNvGrpSpPr/>
          <p:nvPr/>
        </p:nvGrpSpPr>
        <p:grpSpPr>
          <a:xfrm>
            <a:off x="9081855" y="2516546"/>
            <a:ext cx="284576" cy="162000"/>
            <a:chOff x="9535283" y="2168131"/>
            <a:chExt cx="284576" cy="162000"/>
          </a:xfrm>
        </p:grpSpPr>
        <p:cxnSp>
          <p:nvCxnSpPr>
            <p:cNvPr id="23" name="Straight Arrow Connector 22">
              <a:extLst>
                <a:ext uri="{FF2B5EF4-FFF2-40B4-BE49-F238E27FC236}">
                  <a16:creationId xmlns:a16="http://schemas.microsoft.com/office/drawing/2014/main" id="{6FFCAC7D-5028-1402-82DF-71000D8289AE}"/>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2EDA82F-8D43-A036-C552-0E488CE7C61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0369DB4-8E69-0CE2-BD02-485EE34C865A}"/>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00CA0D4-0307-C663-C243-B73ADD8A03A7}"/>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Rounded Rectangle 28">
            <a:extLst>
              <a:ext uri="{FF2B5EF4-FFF2-40B4-BE49-F238E27FC236}">
                <a16:creationId xmlns:a16="http://schemas.microsoft.com/office/drawing/2014/main" id="{37AF573B-1C4C-98E8-7E48-34D2E9A15EA6}"/>
              </a:ext>
            </a:extLst>
          </p:cNvPr>
          <p:cNvSpPr/>
          <p:nvPr/>
        </p:nvSpPr>
        <p:spPr>
          <a:xfrm>
            <a:off x="10537736" y="2145239"/>
            <a:ext cx="1151399" cy="4146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err="1">
                <a:solidFill>
                  <a:schemeClr val="bg1"/>
                </a:solidFill>
                <a:latin typeface="Arial Narrow" panose="020B0606020202030204" pitchFamily="34" charset="0"/>
                <a:ea typeface="ＭＳ Ｐゴシック" panose="020B0600070205080204" pitchFamily="34" charset="-128"/>
              </a:rPr>
              <a:t>Xtra</a:t>
            </a:r>
            <a:r>
              <a:rPr lang="en-AU" sz="1200" b="1" dirty="0">
                <a:solidFill>
                  <a:schemeClr val="bg1"/>
                </a:solidFill>
                <a:latin typeface="Arial Narrow" panose="020B0606020202030204" pitchFamily="34" charset="0"/>
                <a:ea typeface="ＭＳ Ｐゴシック" panose="020B0600070205080204" pitchFamily="34" charset="-128"/>
              </a:rPr>
              <a:t> Capacity</a:t>
            </a:r>
            <a:r>
              <a:rPr lang="en-AU" sz="1200" b="1" baseline="30000" dirty="0">
                <a:solidFill>
                  <a:schemeClr val="bg1"/>
                </a:solidFill>
                <a:latin typeface="Arial Narrow" panose="020B0606020202030204" pitchFamily="34" charset="0"/>
                <a:ea typeface="ＭＳ Ｐゴシック" panose="020B0600070205080204" pitchFamily="34" charset="-128"/>
              </a:rPr>
              <a:t>™</a:t>
            </a:r>
          </a:p>
        </p:txBody>
      </p:sp>
      <p:sp>
        <p:nvSpPr>
          <p:cNvPr id="30" name="TextBox 29">
            <a:extLst>
              <a:ext uri="{FF2B5EF4-FFF2-40B4-BE49-F238E27FC236}">
                <a16:creationId xmlns:a16="http://schemas.microsoft.com/office/drawing/2014/main" id="{EE34F626-05A9-8784-FF19-530A418A18A5}"/>
              </a:ext>
            </a:extLst>
          </p:cNvPr>
          <p:cNvSpPr txBox="1"/>
          <p:nvPr/>
        </p:nvSpPr>
        <p:spPr>
          <a:xfrm>
            <a:off x="8530351" y="3104844"/>
            <a:ext cx="165540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J</a:t>
            </a:r>
            <a:endParaRPr lang="en-US" sz="1600" spc="300" baseline="80000" dirty="0">
              <a:solidFill>
                <a:schemeClr val="bg2"/>
              </a:solidFill>
            </a:endParaRPr>
          </a:p>
        </p:txBody>
      </p:sp>
      <p:sp>
        <p:nvSpPr>
          <p:cNvPr id="32" name="TextBox 31">
            <a:extLst>
              <a:ext uri="{FF2B5EF4-FFF2-40B4-BE49-F238E27FC236}">
                <a16:creationId xmlns:a16="http://schemas.microsoft.com/office/drawing/2014/main" id="{3992E55B-EDE9-9A78-0B6E-83A433529051}"/>
              </a:ext>
            </a:extLst>
          </p:cNvPr>
          <p:cNvSpPr txBox="1"/>
          <p:nvPr/>
        </p:nvSpPr>
        <p:spPr>
          <a:xfrm>
            <a:off x="8530351" y="4115498"/>
            <a:ext cx="2472110"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FE</a:t>
            </a:r>
            <a:endParaRPr lang="en-US" sz="1600" spc="300" baseline="80000" dirty="0">
              <a:solidFill>
                <a:schemeClr val="bg2"/>
              </a:solidFill>
            </a:endParaRPr>
          </a:p>
        </p:txBody>
      </p:sp>
      <p:cxnSp>
        <p:nvCxnSpPr>
          <p:cNvPr id="62" name="Straight Connector 61">
            <a:extLst>
              <a:ext uri="{FF2B5EF4-FFF2-40B4-BE49-F238E27FC236}">
                <a16:creationId xmlns:a16="http://schemas.microsoft.com/office/drawing/2014/main" id="{6EAFCB72-F48D-3972-53D3-78D6BAD690DB}"/>
              </a:ext>
            </a:extLst>
          </p:cNvPr>
          <p:cNvCxnSpPr>
            <a:cxnSpLocks/>
          </p:cNvCxnSpPr>
          <p:nvPr/>
        </p:nvCxnSpPr>
        <p:spPr>
          <a:xfrm>
            <a:off x="10177736" y="2349895"/>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5" name="Rounded Rectangle 64">
            <a:extLst>
              <a:ext uri="{FF2B5EF4-FFF2-40B4-BE49-F238E27FC236}">
                <a16:creationId xmlns:a16="http://schemas.microsoft.com/office/drawing/2014/main" id="{FD057383-309D-4E22-17AB-620A13F85E7E}"/>
              </a:ext>
            </a:extLst>
          </p:cNvPr>
          <p:cNvSpPr/>
          <p:nvPr/>
        </p:nvSpPr>
        <p:spPr>
          <a:xfrm>
            <a:off x="10495044" y="4180293"/>
            <a:ext cx="1193905"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Fuel Electric (</a:t>
            </a:r>
            <a:r>
              <a:rPr lang="en-AU" sz="1200" b="1" dirty="0" err="1">
                <a:solidFill>
                  <a:schemeClr val="bg1"/>
                </a:solidFill>
                <a:latin typeface="Arial Narrow" panose="020B0606020202030204" pitchFamily="34" charset="0"/>
                <a:ea typeface="ＭＳ Ｐゴシック" panose="020B0600070205080204" pitchFamily="34" charset="-128"/>
              </a:rPr>
              <a:t>Ibrido</a:t>
            </a:r>
            <a:r>
              <a:rPr lang="en-AU" sz="1200" b="1" dirty="0">
                <a:solidFill>
                  <a:schemeClr val="bg1"/>
                </a:solidFill>
                <a:latin typeface="Arial Narrow" panose="020B0606020202030204" pitchFamily="34" charset="0"/>
                <a:ea typeface="ＭＳ Ｐゴシック" panose="020B0600070205080204" pitchFamily="34" charset="-128"/>
              </a:rPr>
              <a:t>)</a:t>
            </a:r>
          </a:p>
        </p:txBody>
      </p:sp>
      <p:sp>
        <p:nvSpPr>
          <p:cNvPr id="66" name="TextBox 65">
            <a:extLst>
              <a:ext uri="{FF2B5EF4-FFF2-40B4-BE49-F238E27FC236}">
                <a16:creationId xmlns:a16="http://schemas.microsoft.com/office/drawing/2014/main" id="{E846F912-283A-D7DD-6D8A-5E9E79368B40}"/>
              </a:ext>
            </a:extLst>
          </p:cNvPr>
          <p:cNvSpPr txBox="1"/>
          <p:nvPr/>
        </p:nvSpPr>
        <p:spPr>
          <a:xfrm>
            <a:off x="8530351" y="3586107"/>
            <a:ext cx="2146816"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TraX</a:t>
            </a:r>
            <a:endParaRPr lang="en-US" sz="1600" spc="300" baseline="80000" dirty="0">
              <a:solidFill>
                <a:schemeClr val="bg2"/>
              </a:solidFill>
            </a:endParaRPr>
          </a:p>
        </p:txBody>
      </p:sp>
      <p:sp>
        <p:nvSpPr>
          <p:cNvPr id="67" name="Rounded Rectangle 66">
            <a:extLst>
              <a:ext uri="{FF2B5EF4-FFF2-40B4-BE49-F238E27FC236}">
                <a16:creationId xmlns:a16="http://schemas.microsoft.com/office/drawing/2014/main" id="{341E2BDC-421C-2979-33B3-3E3451F4B2D2}"/>
              </a:ext>
            </a:extLst>
          </p:cNvPr>
          <p:cNvSpPr/>
          <p:nvPr/>
        </p:nvSpPr>
        <p:spPr>
          <a:xfrm>
            <a:off x="10496484" y="3628064"/>
            <a:ext cx="1249841"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it-IT" sz="1200" b="1" dirty="0">
                <a:solidFill>
                  <a:schemeClr val="bg1"/>
                </a:solidFill>
                <a:latin typeface="Arial Narrow" panose="020B0606020202030204" pitchFamily="34" charset="0"/>
                <a:ea typeface="ＭＳ Ｐゴシック" panose="020B0600070205080204" pitchFamily="34" charset="-128"/>
              </a:rPr>
              <a:t>Sistema di 4 cingoli indipendenti</a:t>
            </a:r>
          </a:p>
        </p:txBody>
      </p:sp>
      <p:sp>
        <p:nvSpPr>
          <p:cNvPr id="68" name="TextBox 67">
            <a:extLst>
              <a:ext uri="{FF2B5EF4-FFF2-40B4-BE49-F238E27FC236}">
                <a16:creationId xmlns:a16="http://schemas.microsoft.com/office/drawing/2014/main" id="{A8406DB4-8D2F-E4CD-2E1E-BD95FF5C66C8}"/>
              </a:ext>
            </a:extLst>
          </p:cNvPr>
          <p:cNvSpPr txBox="1"/>
          <p:nvPr/>
        </p:nvSpPr>
        <p:spPr>
          <a:xfrm>
            <a:off x="8530351" y="4638013"/>
            <a:ext cx="1576145" cy="523220"/>
          </a:xfrm>
          <a:prstGeom prst="rect">
            <a:avLst/>
          </a:prstGeom>
          <a:noFill/>
        </p:spPr>
        <p:txBody>
          <a:bodyPr wrap="square" lIns="91440" tIns="45720" rIns="91440" bIns="45720" rtlCol="0" anchor="t">
            <a:spAutoFit/>
          </a:bodyPr>
          <a:lstStyle/>
          <a:p>
            <a:r>
              <a:rPr lang="en-GB" sz="2800" b="1" spc="300" dirty="0">
                <a:solidFill>
                  <a:schemeClr val="bg2"/>
                </a:solidFill>
                <a:latin typeface="Arial Narrow"/>
                <a:ea typeface="ＭＳ Ｐゴシック"/>
              </a:rPr>
              <a:t>S</a:t>
            </a:r>
            <a:r>
              <a:rPr lang="en-GB" sz="2800" b="1" dirty="0">
                <a:solidFill>
                  <a:schemeClr val="bg2"/>
                </a:solidFill>
                <a:latin typeface="Arial Narrow"/>
                <a:ea typeface="ＭＳ Ｐゴシック"/>
              </a:rPr>
              <a:t>X</a:t>
            </a:r>
            <a:r>
              <a:rPr lang="en-GB" sz="1600" b="1" spc="300" baseline="80000" dirty="0">
                <a:solidFill>
                  <a:schemeClr val="bg2"/>
                </a:solidFill>
                <a:latin typeface="Arial Narrow"/>
                <a:ea typeface="ＭＳ Ｐゴシック"/>
              </a:rPr>
              <a:t>™</a:t>
            </a:r>
            <a:r>
              <a:rPr lang="en-GB" sz="2800" b="1" spc="300" dirty="0">
                <a:solidFill>
                  <a:schemeClr val="bg2"/>
                </a:solidFill>
                <a:latin typeface="Arial Narrow"/>
                <a:ea typeface="ＭＳ Ｐゴシック"/>
              </a:rPr>
              <a:t>-180</a:t>
            </a:r>
            <a:endParaRPr lang="en-US" sz="1600" spc="300" baseline="80000" dirty="0">
              <a:solidFill>
                <a:schemeClr val="bg2"/>
              </a:solidFill>
              <a:latin typeface="Arial Narrow"/>
              <a:ea typeface="ＭＳ Ｐゴシック"/>
            </a:endParaRPr>
          </a:p>
        </p:txBody>
      </p:sp>
      <p:sp>
        <p:nvSpPr>
          <p:cNvPr id="69" name="Rounded Rectangle 68">
            <a:extLst>
              <a:ext uri="{FF2B5EF4-FFF2-40B4-BE49-F238E27FC236}">
                <a16:creationId xmlns:a16="http://schemas.microsoft.com/office/drawing/2014/main" id="{B9E31F89-5574-9650-87D4-F4A9B6EA55EB}"/>
              </a:ext>
            </a:extLst>
          </p:cNvPr>
          <p:cNvSpPr/>
          <p:nvPr/>
        </p:nvSpPr>
        <p:spPr>
          <a:xfrm>
            <a:off x="10106495" y="4689057"/>
            <a:ext cx="1593629" cy="666714"/>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it-IT" sz="1200" b="1" dirty="0">
                <a:solidFill>
                  <a:schemeClr val="bg1"/>
                </a:solidFill>
                <a:latin typeface="Arial Narrow" panose="020B0606020202030204" pitchFamily="34" charset="0"/>
                <a:ea typeface="ＭＳ Ｐゴシック" panose="020B0600070205080204" pitchFamily="34" charset="-128"/>
              </a:rPr>
              <a:t>Famiglia di Super Boom con tecnologia Chassis X-tend </a:t>
            </a:r>
            <a:endParaRPr lang="en-AU" sz="1200" b="1" dirty="0">
              <a:solidFill>
                <a:schemeClr val="bg1"/>
              </a:solidFill>
              <a:latin typeface="Arial Narrow" panose="020B0606020202030204" pitchFamily="34" charset="0"/>
              <a:ea typeface="ＭＳ Ｐゴシック" panose="020B0600070205080204" pitchFamily="34" charset="-128"/>
            </a:endParaRPr>
          </a:p>
        </p:txBody>
      </p:sp>
      <p:sp>
        <p:nvSpPr>
          <p:cNvPr id="70" name="Rounded Rectangle 69">
            <a:extLst>
              <a:ext uri="{FF2B5EF4-FFF2-40B4-BE49-F238E27FC236}">
                <a16:creationId xmlns:a16="http://schemas.microsoft.com/office/drawing/2014/main" id="{4C22AE4E-3CE1-2B11-1F11-72BE896198E4}"/>
              </a:ext>
            </a:extLst>
          </p:cNvPr>
          <p:cNvSpPr/>
          <p:nvPr/>
        </p:nvSpPr>
        <p:spPr>
          <a:xfrm>
            <a:off x="10496485" y="3174302"/>
            <a:ext cx="1193829"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GB" sz="1200" b="1" dirty="0">
                <a:solidFill>
                  <a:schemeClr val="bg1"/>
                </a:solidFill>
                <a:latin typeface="Arial Narrow" panose="020B0606020202030204" pitchFamily="34" charset="0"/>
                <a:ea typeface="ＭＳ Ｐゴシック" panose="020B0600070205080204" pitchFamily="34" charset="-128"/>
              </a:rPr>
              <a:t>Standard 5 ft Jib </a:t>
            </a:r>
            <a:r>
              <a:rPr lang="en-GB" sz="1200" b="1" dirty="0" err="1">
                <a:solidFill>
                  <a:schemeClr val="bg1"/>
                </a:solidFill>
                <a:latin typeface="Arial Narrow" panose="020B0606020202030204" pitchFamily="34" charset="0"/>
                <a:ea typeface="ＭＳ Ｐゴシック" panose="020B0600070205080204" pitchFamily="34" charset="-128"/>
              </a:rPr>
              <a:t>incluso</a:t>
            </a:r>
            <a:endParaRPr lang="en-AU" sz="1200" b="1" dirty="0">
              <a:solidFill>
                <a:schemeClr val="bg1"/>
              </a:solidFill>
              <a:latin typeface="Arial Narrow" panose="020B0606020202030204" pitchFamily="34" charset="0"/>
              <a:ea typeface="ＭＳ Ｐゴシック" panose="020B0600070205080204" pitchFamily="34" charset="-128"/>
            </a:endParaRPr>
          </a:p>
        </p:txBody>
      </p:sp>
      <p:cxnSp>
        <p:nvCxnSpPr>
          <p:cNvPr id="71" name="Straight Connector 70">
            <a:extLst>
              <a:ext uri="{FF2B5EF4-FFF2-40B4-BE49-F238E27FC236}">
                <a16:creationId xmlns:a16="http://schemas.microsoft.com/office/drawing/2014/main" id="{DF89AA76-9544-D187-3732-114035447A99}"/>
              </a:ext>
            </a:extLst>
          </p:cNvPr>
          <p:cNvCxnSpPr>
            <a:cxnSpLocks/>
          </p:cNvCxnSpPr>
          <p:nvPr/>
        </p:nvCxnSpPr>
        <p:spPr>
          <a:xfrm>
            <a:off x="9816404" y="3360548"/>
            <a:ext cx="684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1EC9EE2-940B-C7C5-144C-AF08C30FCC52}"/>
              </a:ext>
            </a:extLst>
          </p:cNvPr>
          <p:cNvCxnSpPr>
            <a:cxnSpLocks/>
          </p:cNvCxnSpPr>
          <p:nvPr/>
        </p:nvCxnSpPr>
        <p:spPr>
          <a:xfrm>
            <a:off x="10387044" y="3841811"/>
            <a:ext cx="10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F2599A0-A8DF-B208-E6C9-5052FFE7C461}"/>
              </a:ext>
            </a:extLst>
          </p:cNvPr>
          <p:cNvCxnSpPr>
            <a:cxnSpLocks/>
          </p:cNvCxnSpPr>
          <p:nvPr/>
        </p:nvCxnSpPr>
        <p:spPr>
          <a:xfrm>
            <a:off x="10029534" y="4371201"/>
            <a:ext cx="46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4" name="Rounded Rectangle 73">
            <a:extLst>
              <a:ext uri="{FF2B5EF4-FFF2-40B4-BE49-F238E27FC236}">
                <a16:creationId xmlns:a16="http://schemas.microsoft.com/office/drawing/2014/main" id="{27AE6E43-0D7B-2A38-D973-A959A06D15DF}"/>
              </a:ext>
            </a:extLst>
          </p:cNvPr>
          <p:cNvSpPr/>
          <p:nvPr/>
        </p:nvSpPr>
        <p:spPr>
          <a:xfrm>
            <a:off x="10258393" y="2696442"/>
            <a:ext cx="1533149"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100"/>
              </a:lnSpc>
            </a:pPr>
            <a:r>
              <a:rPr lang="it-IT" sz="1100" dirty="0">
                <a:solidFill>
                  <a:schemeClr val="bg1"/>
                </a:solidFill>
                <a:latin typeface="Arial Narrow" panose="020B0606020202030204" pitchFamily="34" charset="0"/>
                <a:ea typeface="ＭＳ Ｐゴシック" panose="020B0600070205080204" pitchFamily="34" charset="-128"/>
              </a:rPr>
              <a:t>Indica un braccio esteso di 60 ft/ 18.30 m con un braccio jib di 5 ft / 1.52 m </a:t>
            </a:r>
            <a:endParaRPr lang="en-US" sz="1100" dirty="0">
              <a:solidFill>
                <a:schemeClr val="bg1"/>
              </a:solidFill>
            </a:endParaRPr>
          </a:p>
        </p:txBody>
      </p:sp>
      <p:cxnSp>
        <p:nvCxnSpPr>
          <p:cNvPr id="75" name="Straight Connector 74">
            <a:extLst>
              <a:ext uri="{FF2B5EF4-FFF2-40B4-BE49-F238E27FC236}">
                <a16:creationId xmlns:a16="http://schemas.microsoft.com/office/drawing/2014/main" id="{BB163DBB-2E57-B2AB-4202-536D0A1571EE}"/>
              </a:ext>
            </a:extLst>
          </p:cNvPr>
          <p:cNvCxnSpPr>
            <a:cxnSpLocks/>
          </p:cNvCxnSpPr>
          <p:nvPr/>
        </p:nvCxnSpPr>
        <p:spPr>
          <a:xfrm>
            <a:off x="9960782" y="4914340"/>
            <a:ext cx="144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8653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6_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UserInfo>
        <DisplayName>van den Troost, Ben</DisplayName>
        <AccountId>286</AccountId>
        <AccountType/>
      </UserInfo>
    </SharedWithUsers>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Responsible xmlns="a8a9adf9-c756-4366-b7e7-cdacca637964">
      <UserInfo>
        <DisplayName/>
        <AccountId xsi:nil="true"/>
        <AccountType/>
      </UserInfo>
    </Responsibl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83D8DA-6978-4F0E-B703-1E3DC2031018}"/>
</file>

<file path=customXml/itemProps2.xml><?xml version="1.0" encoding="utf-8"?>
<ds:datastoreItem xmlns:ds="http://schemas.openxmlformats.org/officeDocument/2006/customXml" ds:itemID="{954F0EF1-9D64-48D3-96FB-5728B26859D5}">
  <ds:schemaRefs>
    <ds:schemaRef ds:uri="http://purl.org/dc/elements/1.1/"/>
    <ds:schemaRef ds:uri="http://schemas.microsoft.com/office/infopath/2007/PartnerControls"/>
    <ds:schemaRef ds:uri="http://schemas.microsoft.com/office/2006/documentManagement/types"/>
    <ds:schemaRef ds:uri="http://purl.org/dc/terms/"/>
    <ds:schemaRef ds:uri="http://schemas.microsoft.com/office/2006/metadata/properties"/>
    <ds:schemaRef ds:uri="http://schemas.microsoft.com/sharepoint/v3"/>
    <ds:schemaRef ds:uri="http://schemas.openxmlformats.org/package/2006/metadata/core-properties"/>
    <ds:schemaRef ds:uri="http://www.w3.org/XML/1998/namespace"/>
    <ds:schemaRef ds:uri="a7929fc3-2b74-463f-8c5e-f811cd3f9428"/>
    <ds:schemaRef ds:uri="a8a9adf9-c756-4366-b7e7-cdacca637964"/>
    <ds:schemaRef ds:uri="http://purl.org/dc/dcmitype/"/>
  </ds:schemaRefs>
</ds:datastoreItem>
</file>

<file path=customXml/itemProps3.xml><?xml version="1.0" encoding="utf-8"?>
<ds:datastoreItem xmlns:ds="http://schemas.openxmlformats.org/officeDocument/2006/customXml" ds:itemID="{BB609FF0-EAF5-4385-A62E-68E9FFEAE6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50</TotalTime>
  <Words>1828</Words>
  <Application>Microsoft Office PowerPoint</Application>
  <PresentationFormat>Widescreen</PresentationFormat>
  <Paragraphs>337</Paragraphs>
  <Slides>19</Slides>
  <Notes>1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8" baseType="lpstr">
      <vt:lpstr>Arial</vt:lpstr>
      <vt:lpstr>Arial Narrow</vt:lpstr>
      <vt:lpstr>Calibri</vt:lpstr>
      <vt:lpstr>Century Gothic</vt:lpstr>
      <vt:lpstr>Roboto Bold</vt:lpstr>
      <vt:lpstr>Times</vt:lpstr>
      <vt:lpstr>Genie QBD_2022</vt:lpstr>
      <vt:lpstr>6_Blank</vt:lpstr>
      <vt:lpstr>think-cell Slide</vt:lpstr>
      <vt:lpstr>Presentazione di Genie</vt:lpstr>
      <vt:lpstr>55 Anni di Qualità: La Storia di Genie</vt:lpstr>
      <vt:lpstr>Un'azienda affermata, un leader globale</vt:lpstr>
      <vt:lpstr>La nostra visione</vt:lpstr>
      <vt:lpstr>Mercati diversi e indirizzabili</vt:lpstr>
      <vt:lpstr>Gamma Prodotti</vt:lpstr>
      <vt:lpstr>Piattaforme a Forbice</vt:lpstr>
      <vt:lpstr>Piattaforme a Braccio Articolato</vt:lpstr>
      <vt:lpstr>Piattaforme a Braccio Telescopico</vt:lpstr>
      <vt:lpstr>Sollevatori Telescopici (ANSI)</vt:lpstr>
      <vt:lpstr>Sollevatori di Materiali</vt:lpstr>
      <vt:lpstr>Sollevatori di persone </vt:lpstr>
      <vt:lpstr>Tendenze macro a sostegno della crescita della domanda</vt:lpstr>
      <vt:lpstr>La nostra strategia</vt:lpstr>
      <vt:lpstr>Quality By Design è in tutto ciò che Genie fa</vt:lpstr>
      <vt:lpstr>Presenza Produttiva Globale</vt:lpstr>
      <vt:lpstr>Magazzini di Distribuzione</vt:lpstr>
      <vt:lpstr>In sintesi</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Lefort, Eloise (Contractor)</cp:lastModifiedBy>
  <cp:revision>23</cp:revision>
  <dcterms:created xsi:type="dcterms:W3CDTF">2022-02-24T15:47:39Z</dcterms:created>
  <dcterms:modified xsi:type="dcterms:W3CDTF">2023-07-06T05:5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